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5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1"/>
  </p:sldMasterIdLst>
  <p:notesMasterIdLst>
    <p:notesMasterId r:id="rId20"/>
  </p:notesMasterIdLst>
  <p:sldIdLst>
    <p:sldId id="256" r:id="rId2"/>
    <p:sldId id="284" r:id="rId3"/>
    <p:sldId id="273" r:id="rId4"/>
    <p:sldId id="276" r:id="rId5"/>
    <p:sldId id="285" r:id="rId6"/>
    <p:sldId id="286" r:id="rId7"/>
    <p:sldId id="294" r:id="rId8"/>
    <p:sldId id="288" r:id="rId9"/>
    <p:sldId id="287" r:id="rId10"/>
    <p:sldId id="290" r:id="rId11"/>
    <p:sldId id="291" r:id="rId12"/>
    <p:sldId id="296" r:id="rId13"/>
    <p:sldId id="297" r:id="rId14"/>
    <p:sldId id="293" r:id="rId15"/>
    <p:sldId id="295" r:id="rId16"/>
    <p:sldId id="278" r:id="rId17"/>
    <p:sldId id="270" r:id="rId18"/>
    <p:sldId id="289" r:id="rId19"/>
  </p:sldIdLst>
  <p:sldSz cx="9144000" cy="5143500" type="screen16x9"/>
  <p:notesSz cx="6858000" cy="9144000"/>
  <p:embeddedFontLst>
    <p:embeddedFont>
      <p:font typeface="Cambria Math" panose="02040503050406030204" pitchFamily="18" charset="0"/>
      <p:regular r:id="rId21"/>
    </p:embeddedFont>
    <p:embeddedFont>
      <p:font typeface="Proxima Nova" panose="020B0604020202020204" charset="0"/>
      <p:regular r:id="rId22"/>
      <p:bold r:id="rId23"/>
      <p:italic r:id="rId24"/>
      <p:boldItalic r:id="rId25"/>
    </p:embeddedFont>
    <p:embeddedFont>
      <p:font typeface="Roboto" panose="020B0604020202020204" charset="0"/>
      <p:regular r:id="rId26"/>
      <p:bold r:id="rId27"/>
      <p:italic r:id="rId28"/>
      <p:boldItalic r:id="rId29"/>
    </p:embeddedFont>
  </p:embeddedFontLst>
  <p:custDataLst>
    <p:tags r:id="rId30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3763"/>
    <a:srgbClr val="85200C"/>
    <a:srgbClr val="2D0051"/>
    <a:srgbClr val="595959"/>
    <a:srgbClr val="7C7C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8BF5A4-C738-4263-9426-F41A4C3771ED}" v="3960" dt="2020-12-02T00:27:48.881"/>
    <p1510:client id="{A110F963-1C91-4033-999A-A0961233380A}" v="142" dt="2020-12-01T23:09:38.89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1620"/>
        <p:guide pos="288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6.fntdata"/><Relationship Id="rId3" Type="http://schemas.openxmlformats.org/officeDocument/2006/relationships/slide" Target="slides/slide2.xml"/><Relationship Id="rId21" Type="http://schemas.openxmlformats.org/officeDocument/2006/relationships/font" Target="fonts/font1.fntdata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5.fntdata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4.fntdata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36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tags" Target="tags/tag1.xml"/><Relationship Id="rId35" Type="http://schemas.microsoft.com/office/2016/11/relationships/changesInfo" Target="changesInfos/changesInfo1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est User" userId="8de8cb70f1275d30" providerId="Windows Live" clId="Web-{6B96BC7A-69F2-4071-8132-09DC707D8606}"/>
    <pc:docChg chg="addSld modSld">
      <pc:chgData name="Guest User" userId="8de8cb70f1275d30" providerId="Windows Live" clId="Web-{6B96BC7A-69F2-4071-8132-09DC707D8606}" dt="2020-11-30T22:32:51.083" v="1440" actId="1076"/>
      <pc:docMkLst>
        <pc:docMk/>
      </pc:docMkLst>
      <pc:sldChg chg="addSp delSp modSp">
        <pc:chgData name="Guest User" userId="8de8cb70f1275d30" providerId="Windows Live" clId="Web-{6B96BC7A-69F2-4071-8132-09DC707D8606}" dt="2020-11-30T21:53:39.165" v="371" actId="14100"/>
        <pc:sldMkLst>
          <pc:docMk/>
          <pc:sldMk cId="211436109" sldId="287"/>
        </pc:sldMkLst>
        <pc:spChg chg="mod">
          <ac:chgData name="Guest User" userId="8de8cb70f1275d30" providerId="Windows Live" clId="Web-{6B96BC7A-69F2-4071-8132-09DC707D8606}" dt="2020-11-30T21:53:32.149" v="370" actId="20577"/>
          <ac:spMkLst>
            <pc:docMk/>
            <pc:sldMk cId="211436109" sldId="287"/>
            <ac:spMk id="78" creationId="{00000000-0000-0000-0000-000000000000}"/>
          </ac:spMkLst>
        </pc:spChg>
        <pc:picChg chg="add del mod">
          <ac:chgData name="Guest User" userId="8de8cb70f1275d30" providerId="Windows Live" clId="Web-{6B96BC7A-69F2-4071-8132-09DC707D8606}" dt="2020-11-30T21:47:11.905" v="167"/>
          <ac:picMkLst>
            <pc:docMk/>
            <pc:sldMk cId="211436109" sldId="287"/>
            <ac:picMk id="2" creationId="{EED6F061-740F-4066-9C3D-0AE3F916CF8E}"/>
          </ac:picMkLst>
        </pc:picChg>
        <pc:picChg chg="del">
          <ac:chgData name="Guest User" userId="8de8cb70f1275d30" providerId="Windows Live" clId="Web-{6B96BC7A-69F2-4071-8132-09DC707D8606}" dt="2020-11-30T21:43:07.462" v="54"/>
          <ac:picMkLst>
            <pc:docMk/>
            <pc:sldMk cId="211436109" sldId="287"/>
            <ac:picMk id="3" creationId="{8346B6CA-68B1-4610-ABC7-AFED529FFE81}"/>
          </ac:picMkLst>
        </pc:picChg>
        <pc:picChg chg="add mod">
          <ac:chgData name="Guest User" userId="8de8cb70f1275d30" providerId="Windows Live" clId="Web-{6B96BC7A-69F2-4071-8132-09DC707D8606}" dt="2020-11-30T21:53:39.165" v="371" actId="14100"/>
          <ac:picMkLst>
            <pc:docMk/>
            <pc:sldMk cId="211436109" sldId="287"/>
            <ac:picMk id="4" creationId="{31171E1F-CAA2-4332-9F36-76A4AAC8BC4C}"/>
          </ac:picMkLst>
        </pc:picChg>
      </pc:sldChg>
      <pc:sldChg chg="addSp delSp modSp add replId">
        <pc:chgData name="Guest User" userId="8de8cb70f1275d30" providerId="Windows Live" clId="Web-{6B96BC7A-69F2-4071-8132-09DC707D8606}" dt="2020-11-30T22:10:34.347" v="746" actId="20577"/>
        <pc:sldMkLst>
          <pc:docMk/>
          <pc:sldMk cId="3873400469" sldId="290"/>
        </pc:sldMkLst>
        <pc:spChg chg="mod">
          <ac:chgData name="Guest User" userId="8de8cb70f1275d30" providerId="Windows Live" clId="Web-{6B96BC7A-69F2-4071-8132-09DC707D8606}" dt="2020-11-30T22:07:39.186" v="735" actId="20577"/>
          <ac:spMkLst>
            <pc:docMk/>
            <pc:sldMk cId="3873400469" sldId="290"/>
            <ac:spMk id="78" creationId="{00000000-0000-0000-0000-000000000000}"/>
          </ac:spMkLst>
        </pc:spChg>
        <pc:spChg chg="mod">
          <ac:chgData name="Guest User" userId="8de8cb70f1275d30" providerId="Windows Live" clId="Web-{6B96BC7A-69F2-4071-8132-09DC707D8606}" dt="2020-11-30T22:10:34.347" v="746" actId="20577"/>
          <ac:spMkLst>
            <pc:docMk/>
            <pc:sldMk cId="3873400469" sldId="290"/>
            <ac:spMk id="79" creationId="{00000000-0000-0000-0000-000000000000}"/>
          </ac:spMkLst>
        </pc:spChg>
        <pc:picChg chg="add mod">
          <ac:chgData name="Guest User" userId="8de8cb70f1275d30" providerId="Windows Live" clId="Web-{6B96BC7A-69F2-4071-8132-09DC707D8606}" dt="2020-11-30T22:06:25.825" v="702" actId="1076"/>
          <ac:picMkLst>
            <pc:docMk/>
            <pc:sldMk cId="3873400469" sldId="290"/>
            <ac:picMk id="2" creationId="{58D1866D-4F40-41B8-9F2D-B0853F6A3E11}"/>
          </ac:picMkLst>
        </pc:picChg>
        <pc:picChg chg="add mod">
          <ac:chgData name="Guest User" userId="8de8cb70f1275d30" providerId="Windows Live" clId="Web-{6B96BC7A-69F2-4071-8132-09DC707D8606}" dt="2020-11-30T22:07:46.780" v="738" actId="14100"/>
          <ac:picMkLst>
            <pc:docMk/>
            <pc:sldMk cId="3873400469" sldId="290"/>
            <ac:picMk id="3" creationId="{D82795C6-EB23-4A0B-AA6A-DDDB3D1902AD}"/>
          </ac:picMkLst>
        </pc:picChg>
        <pc:picChg chg="del">
          <ac:chgData name="Guest User" userId="8de8cb70f1275d30" providerId="Windows Live" clId="Web-{6B96BC7A-69F2-4071-8132-09DC707D8606}" dt="2020-11-30T21:56:51.404" v="384"/>
          <ac:picMkLst>
            <pc:docMk/>
            <pc:sldMk cId="3873400469" sldId="290"/>
            <ac:picMk id="4" creationId="{31171E1F-CAA2-4332-9F36-76A4AAC8BC4C}"/>
          </ac:picMkLst>
        </pc:picChg>
      </pc:sldChg>
      <pc:sldChg chg="addSp delSp modSp add replId">
        <pc:chgData name="Guest User" userId="8de8cb70f1275d30" providerId="Windows Live" clId="Web-{6B96BC7A-69F2-4071-8132-09DC707D8606}" dt="2020-11-30T22:15:27.073" v="995" actId="20577"/>
        <pc:sldMkLst>
          <pc:docMk/>
          <pc:sldMk cId="1903243828" sldId="291"/>
        </pc:sldMkLst>
        <pc:spChg chg="mod">
          <ac:chgData name="Guest User" userId="8de8cb70f1275d30" providerId="Windows Live" clId="Web-{6B96BC7A-69F2-4071-8132-09DC707D8606}" dt="2020-11-30T22:15:27.073" v="995" actId="20577"/>
          <ac:spMkLst>
            <pc:docMk/>
            <pc:sldMk cId="1903243828" sldId="291"/>
            <ac:spMk id="78" creationId="{00000000-0000-0000-0000-000000000000}"/>
          </ac:spMkLst>
        </pc:spChg>
        <pc:spChg chg="mod">
          <ac:chgData name="Guest User" userId="8de8cb70f1275d30" providerId="Windows Live" clId="Web-{6B96BC7A-69F2-4071-8132-09DC707D8606}" dt="2020-11-30T22:10:28.799" v="742" actId="20577"/>
          <ac:spMkLst>
            <pc:docMk/>
            <pc:sldMk cId="1903243828" sldId="291"/>
            <ac:spMk id="79" creationId="{00000000-0000-0000-0000-000000000000}"/>
          </ac:spMkLst>
        </pc:spChg>
        <pc:picChg chg="del">
          <ac:chgData name="Guest User" userId="8de8cb70f1275d30" providerId="Windows Live" clId="Web-{6B96BC7A-69F2-4071-8132-09DC707D8606}" dt="2020-11-30T22:13:59.367" v="926"/>
          <ac:picMkLst>
            <pc:docMk/>
            <pc:sldMk cId="1903243828" sldId="291"/>
            <ac:picMk id="2" creationId="{58D1866D-4F40-41B8-9F2D-B0853F6A3E11}"/>
          </ac:picMkLst>
        </pc:picChg>
        <pc:picChg chg="del">
          <ac:chgData name="Guest User" userId="8de8cb70f1275d30" providerId="Windows Live" clId="Web-{6B96BC7A-69F2-4071-8132-09DC707D8606}" dt="2020-11-30T22:11:32.285" v="818"/>
          <ac:picMkLst>
            <pc:docMk/>
            <pc:sldMk cId="1903243828" sldId="291"/>
            <ac:picMk id="3" creationId="{D82795C6-EB23-4A0B-AA6A-DDDB3D1902AD}"/>
          </ac:picMkLst>
        </pc:picChg>
        <pc:picChg chg="add mod">
          <ac:chgData name="Guest User" userId="8de8cb70f1275d30" providerId="Windows Live" clId="Web-{6B96BC7A-69F2-4071-8132-09DC707D8606}" dt="2020-11-30T22:13:58.055" v="925" actId="14100"/>
          <ac:picMkLst>
            <pc:docMk/>
            <pc:sldMk cId="1903243828" sldId="291"/>
            <ac:picMk id="4" creationId="{94D6C1CD-266B-4B4A-AE34-BF9FB3011AAD}"/>
          </ac:picMkLst>
        </pc:picChg>
      </pc:sldChg>
      <pc:sldChg chg="addSp delSp modSp add replId">
        <pc:chgData name="Guest User" userId="8de8cb70f1275d30" providerId="Windows Live" clId="Web-{6B96BC7A-69F2-4071-8132-09DC707D8606}" dt="2020-11-30T22:32:51.083" v="1440" actId="1076"/>
        <pc:sldMkLst>
          <pc:docMk/>
          <pc:sldMk cId="566684869" sldId="292"/>
        </pc:sldMkLst>
        <pc:spChg chg="mod">
          <ac:chgData name="Guest User" userId="8de8cb70f1275d30" providerId="Windows Live" clId="Web-{6B96BC7A-69F2-4071-8132-09DC707D8606}" dt="2020-11-30T22:32:43.208" v="1437" actId="20577"/>
          <ac:spMkLst>
            <pc:docMk/>
            <pc:sldMk cId="566684869" sldId="292"/>
            <ac:spMk id="78" creationId="{00000000-0000-0000-0000-000000000000}"/>
          </ac:spMkLst>
        </pc:spChg>
        <pc:spChg chg="mod">
          <ac:chgData name="Guest User" userId="8de8cb70f1275d30" providerId="Windows Live" clId="Web-{6B96BC7A-69F2-4071-8132-09DC707D8606}" dt="2020-11-30T22:15:40.213" v="997" actId="20577"/>
          <ac:spMkLst>
            <pc:docMk/>
            <pc:sldMk cId="566684869" sldId="292"/>
            <ac:spMk id="79" creationId="{00000000-0000-0000-0000-000000000000}"/>
          </ac:spMkLst>
        </pc:spChg>
        <pc:picChg chg="add mod">
          <ac:chgData name="Guest User" userId="8de8cb70f1275d30" providerId="Windows Live" clId="Web-{6B96BC7A-69F2-4071-8132-09DC707D8606}" dt="2020-11-30T22:32:51.083" v="1440" actId="1076"/>
          <ac:picMkLst>
            <pc:docMk/>
            <pc:sldMk cId="566684869" sldId="292"/>
            <ac:picMk id="2" creationId="{064B2750-59AD-4D85-A64D-51D78052542E}"/>
          </ac:picMkLst>
        </pc:picChg>
        <pc:picChg chg="del">
          <ac:chgData name="Guest User" userId="8de8cb70f1275d30" providerId="Windows Live" clId="Web-{6B96BC7A-69F2-4071-8132-09DC707D8606}" dt="2020-11-30T22:15:42.339" v="998"/>
          <ac:picMkLst>
            <pc:docMk/>
            <pc:sldMk cId="566684869" sldId="292"/>
            <ac:picMk id="4" creationId="{94D6C1CD-266B-4B4A-AE34-BF9FB3011AAD}"/>
          </ac:picMkLst>
        </pc:picChg>
      </pc:sldChg>
    </pc:docChg>
  </pc:docChgLst>
  <pc:docChgLst>
    <pc:chgData name="Guest User" userId="8de8cb70f1275d30" providerId="Windows Live" clId="Web-{A110F963-1C91-4033-999A-A0961233380A}"/>
    <pc:docChg chg="delSld modSld sldOrd">
      <pc:chgData name="Guest User" userId="8de8cb70f1275d30" providerId="Windows Live" clId="Web-{A110F963-1C91-4033-999A-A0961233380A}" dt="2020-12-01T23:09:38.892" v="144"/>
      <pc:docMkLst>
        <pc:docMk/>
      </pc:docMkLst>
      <pc:sldChg chg="del">
        <pc:chgData name="Guest User" userId="8de8cb70f1275d30" providerId="Windows Live" clId="Web-{A110F963-1C91-4033-999A-A0961233380A}" dt="2020-12-01T23:04:52.026" v="2"/>
        <pc:sldMkLst>
          <pc:docMk/>
          <pc:sldMk cId="566684869" sldId="292"/>
        </pc:sldMkLst>
      </pc:sldChg>
      <pc:sldChg chg="delSp modSp">
        <pc:chgData name="Guest User" userId="8de8cb70f1275d30" providerId="Windows Live" clId="Web-{A110F963-1C91-4033-999A-A0961233380A}" dt="2020-12-01T23:07:24.904" v="70"/>
        <pc:sldMkLst>
          <pc:docMk/>
          <pc:sldMk cId="329313445" sldId="296"/>
        </pc:sldMkLst>
        <pc:spChg chg="mod">
          <ac:chgData name="Guest User" userId="8de8cb70f1275d30" providerId="Windows Live" clId="Web-{A110F963-1C91-4033-999A-A0961233380A}" dt="2020-12-01T23:06:56.529" v="61" actId="20577"/>
          <ac:spMkLst>
            <pc:docMk/>
            <pc:sldMk cId="329313445" sldId="296"/>
            <ac:spMk id="78" creationId="{00000000-0000-0000-0000-000000000000}"/>
          </ac:spMkLst>
        </pc:spChg>
        <pc:spChg chg="mod">
          <ac:chgData name="Guest User" userId="8de8cb70f1275d30" providerId="Windows Live" clId="Web-{A110F963-1C91-4033-999A-A0961233380A}" dt="2020-12-01T23:07:17.529" v="69" actId="20577"/>
          <ac:spMkLst>
            <pc:docMk/>
            <pc:sldMk cId="329313445" sldId="296"/>
            <ac:spMk id="79" creationId="{00000000-0000-0000-0000-000000000000}"/>
          </ac:spMkLst>
        </pc:spChg>
        <pc:picChg chg="del">
          <ac:chgData name="Guest User" userId="8de8cb70f1275d30" providerId="Windows Live" clId="Web-{A110F963-1C91-4033-999A-A0961233380A}" dt="2020-12-01T23:07:24.904" v="70"/>
          <ac:picMkLst>
            <pc:docMk/>
            <pc:sldMk cId="329313445" sldId="296"/>
            <ac:picMk id="2" creationId="{064B2750-59AD-4D85-A64D-51D78052542E}"/>
          </ac:picMkLst>
        </pc:picChg>
      </pc:sldChg>
      <pc:sldChg chg="addSp delSp modSp ord">
        <pc:chgData name="Guest User" userId="8de8cb70f1275d30" providerId="Windows Live" clId="Web-{A110F963-1C91-4033-999A-A0961233380A}" dt="2020-12-01T23:09:38.892" v="144"/>
        <pc:sldMkLst>
          <pc:docMk/>
          <pc:sldMk cId="4012897238" sldId="297"/>
        </pc:sldMkLst>
        <pc:spChg chg="mod">
          <ac:chgData name="Guest User" userId="8de8cb70f1275d30" providerId="Windows Live" clId="Web-{A110F963-1C91-4033-999A-A0961233380A}" dt="2020-12-01T23:09:06.969" v="141" actId="20577"/>
          <ac:spMkLst>
            <pc:docMk/>
            <pc:sldMk cId="4012897238" sldId="297"/>
            <ac:spMk id="78" creationId="{00000000-0000-0000-0000-000000000000}"/>
          </ac:spMkLst>
        </pc:spChg>
        <pc:graphicFrameChg chg="add mod modGraphic">
          <ac:chgData name="Guest User" userId="8de8cb70f1275d30" providerId="Windows Live" clId="Web-{A110F963-1C91-4033-999A-A0961233380A}" dt="2020-12-01T23:09:20.079" v="143" actId="14100"/>
          <ac:graphicFrameMkLst>
            <pc:docMk/>
            <pc:sldMk cId="4012897238" sldId="297"/>
            <ac:graphicFrameMk id="3" creationId="{DF647E31-4D09-42CA-BF40-DC6E6937C1D3}"/>
          </ac:graphicFrameMkLst>
        </pc:graphicFrameChg>
        <pc:picChg chg="del">
          <ac:chgData name="Guest User" userId="8de8cb70f1275d30" providerId="Windows Live" clId="Web-{A110F963-1C91-4033-999A-A0961233380A}" dt="2020-12-01T23:09:38.892" v="144"/>
          <ac:picMkLst>
            <pc:docMk/>
            <pc:sldMk cId="4012897238" sldId="297"/>
            <ac:picMk id="2" creationId="{064B2750-59AD-4D85-A64D-51D78052542E}"/>
          </ac:picMkLst>
        </pc:picChg>
      </pc:sldChg>
    </pc:docChg>
  </pc:docChgLst>
  <pc:docChgLst>
    <pc:chgData name="Guest User" userId="8de8cb70f1275d30" providerId="Windows Live" clId="Web-{D98B9A9A-259C-4557-9FB6-991FE32C49FD}"/>
    <pc:docChg chg="modSld">
      <pc:chgData name="Guest User" userId="8de8cb70f1275d30" providerId="Windows Live" clId="Web-{D98B9A9A-259C-4557-9FB6-991FE32C49FD}" dt="2020-11-30T22:54:10.140" v="18"/>
      <pc:docMkLst>
        <pc:docMk/>
      </pc:docMkLst>
      <pc:sldChg chg="modSp">
        <pc:chgData name="Guest User" userId="8de8cb70f1275d30" providerId="Windows Live" clId="Web-{D98B9A9A-259C-4557-9FB6-991FE32C49FD}" dt="2020-11-30T22:48:18.503" v="1" actId="1076"/>
        <pc:sldMkLst>
          <pc:docMk/>
          <pc:sldMk cId="4260321935" sldId="274"/>
        </pc:sldMkLst>
        <pc:spChg chg="mod">
          <ac:chgData name="Guest User" userId="8de8cb70f1275d30" providerId="Windows Live" clId="Web-{D98B9A9A-259C-4557-9FB6-991FE32C49FD}" dt="2020-11-30T22:48:18.503" v="1" actId="1076"/>
          <ac:spMkLst>
            <pc:docMk/>
            <pc:sldMk cId="4260321935" sldId="274"/>
            <ac:spMk id="78" creationId="{00000000-0000-0000-0000-000000000000}"/>
          </ac:spMkLst>
        </pc:spChg>
      </pc:sldChg>
      <pc:sldChg chg="modNotes">
        <pc:chgData name="Guest User" userId="8de8cb70f1275d30" providerId="Windows Live" clId="Web-{D98B9A9A-259C-4557-9FB6-991FE32C49FD}" dt="2020-11-30T22:54:10.140" v="18"/>
        <pc:sldMkLst>
          <pc:docMk/>
          <pc:sldMk cId="1931980260" sldId="285"/>
        </pc:sldMkLst>
      </pc:sldChg>
      <pc:sldChg chg="modSp">
        <pc:chgData name="Guest User" userId="8de8cb70f1275d30" providerId="Windows Live" clId="Web-{D98B9A9A-259C-4557-9FB6-991FE32C49FD}" dt="2020-11-30T22:51:18.696" v="2" actId="1076"/>
        <pc:sldMkLst>
          <pc:docMk/>
          <pc:sldMk cId="1903243828" sldId="291"/>
        </pc:sldMkLst>
        <pc:picChg chg="mod">
          <ac:chgData name="Guest User" userId="8de8cb70f1275d30" providerId="Windows Live" clId="Web-{D98B9A9A-259C-4557-9FB6-991FE32C49FD}" dt="2020-11-30T22:51:18.696" v="2" actId="1076"/>
          <ac:picMkLst>
            <pc:docMk/>
            <pc:sldMk cId="1903243828" sldId="291"/>
            <ac:picMk id="4" creationId="{94D6C1CD-266B-4B4A-AE34-BF9FB3011AAD}"/>
          </ac:picMkLst>
        </pc:picChg>
      </pc:sldChg>
    </pc:docChg>
  </pc:docChgLst>
  <pc:docChgLst>
    <pc:chgData name="AIatPenn@outlook.com" userId="8de8cb70f1275d30" providerId="LiveId" clId="{738BF5A4-C738-4263-9426-F41A4C3771ED}"/>
    <pc:docChg chg="undo redo custSel addSld delSld modSld sldOrd modMainMaster modShowInfo">
      <pc:chgData name="AIatPenn@outlook.com" userId="8de8cb70f1275d30" providerId="LiveId" clId="{738BF5A4-C738-4263-9426-F41A4C3771ED}" dt="2020-12-02T00:27:48.366" v="6302"/>
      <pc:docMkLst>
        <pc:docMk/>
      </pc:docMkLst>
      <pc:sldChg chg="modSp mod">
        <pc:chgData name="AIatPenn@outlook.com" userId="8de8cb70f1275d30" providerId="LiveId" clId="{738BF5A4-C738-4263-9426-F41A4C3771ED}" dt="2020-12-01T22:29:50.576" v="5517" actId="1076"/>
        <pc:sldMkLst>
          <pc:docMk/>
          <pc:sldMk cId="0" sldId="256"/>
        </pc:sldMkLst>
        <pc:spChg chg="mod">
          <ac:chgData name="AIatPenn@outlook.com" userId="8de8cb70f1275d30" providerId="LiveId" clId="{738BF5A4-C738-4263-9426-F41A4C3771ED}" dt="2020-11-30T17:49:05.668" v="2430" actId="20577"/>
          <ac:spMkLst>
            <pc:docMk/>
            <pc:sldMk cId="0" sldId="256"/>
            <ac:spMk id="56" creationId="{00000000-0000-0000-0000-000000000000}"/>
          </ac:spMkLst>
        </pc:spChg>
        <pc:picChg chg="mod">
          <ac:chgData name="AIatPenn@outlook.com" userId="8de8cb70f1275d30" providerId="LiveId" clId="{738BF5A4-C738-4263-9426-F41A4C3771ED}" dt="2020-12-01T22:29:50.576" v="5517" actId="1076"/>
          <ac:picMkLst>
            <pc:docMk/>
            <pc:sldMk cId="0" sldId="256"/>
            <ac:picMk id="57" creationId="{00000000-0000-0000-0000-000000000000}"/>
          </ac:picMkLst>
        </pc:picChg>
      </pc:sldChg>
      <pc:sldChg chg="addSp delSp mod ord">
        <pc:chgData name="AIatPenn@outlook.com" userId="8de8cb70f1275d30" providerId="LiveId" clId="{738BF5A4-C738-4263-9426-F41A4C3771ED}" dt="2020-11-30T17:49:58.496" v="2436"/>
        <pc:sldMkLst>
          <pc:docMk/>
          <pc:sldMk cId="0" sldId="270"/>
        </pc:sldMkLst>
        <pc:spChg chg="del">
          <ac:chgData name="AIatPenn@outlook.com" userId="8de8cb70f1275d30" providerId="LiveId" clId="{738BF5A4-C738-4263-9426-F41A4C3771ED}" dt="2020-11-30T16:15:31.967" v="51" actId="478"/>
          <ac:spMkLst>
            <pc:docMk/>
            <pc:sldMk cId="0" sldId="270"/>
            <ac:spMk id="2" creationId="{9723538C-ECAB-4961-BCE8-9F88051ACAE7}"/>
          </ac:spMkLst>
        </pc:spChg>
        <pc:picChg chg="add del">
          <ac:chgData name="AIatPenn@outlook.com" userId="8de8cb70f1275d30" providerId="LiveId" clId="{738BF5A4-C738-4263-9426-F41A4C3771ED}" dt="2020-11-30T16:15:28.830" v="50" actId="478"/>
          <ac:picMkLst>
            <pc:docMk/>
            <pc:sldMk cId="0" sldId="270"/>
            <ac:picMk id="197" creationId="{00000000-0000-0000-0000-000000000000}"/>
          </ac:picMkLst>
        </pc:picChg>
      </pc:sldChg>
      <pc:sldChg chg="del">
        <pc:chgData name="AIatPenn@outlook.com" userId="8de8cb70f1275d30" providerId="LiveId" clId="{738BF5A4-C738-4263-9426-F41A4C3771ED}" dt="2020-11-30T21:26:49.634" v="4067" actId="2696"/>
        <pc:sldMkLst>
          <pc:docMk/>
          <pc:sldMk cId="3360663549" sldId="271"/>
        </pc:sldMkLst>
      </pc:sldChg>
      <pc:sldChg chg="addSp delSp modSp mod">
        <pc:chgData name="AIatPenn@outlook.com" userId="8de8cb70f1275d30" providerId="LiveId" clId="{738BF5A4-C738-4263-9426-F41A4C3771ED}" dt="2020-12-01T21:44:15.692" v="4919" actId="20577"/>
        <pc:sldMkLst>
          <pc:docMk/>
          <pc:sldMk cId="3722278822" sldId="273"/>
        </pc:sldMkLst>
        <pc:spChg chg="del">
          <ac:chgData name="AIatPenn@outlook.com" userId="8de8cb70f1275d30" providerId="LiveId" clId="{738BF5A4-C738-4263-9426-F41A4C3771ED}" dt="2020-11-30T21:38:49.951" v="4078" actId="12084"/>
          <ac:spMkLst>
            <pc:docMk/>
            <pc:sldMk cId="3722278822" sldId="273"/>
            <ac:spMk id="78" creationId="{00000000-0000-0000-0000-000000000000}"/>
          </ac:spMkLst>
        </pc:spChg>
        <pc:graphicFrameChg chg="add mod">
          <ac:chgData name="AIatPenn@outlook.com" userId="8de8cb70f1275d30" providerId="LiveId" clId="{738BF5A4-C738-4263-9426-F41A4C3771ED}" dt="2020-12-01T21:44:15.692" v="4919" actId="20577"/>
          <ac:graphicFrameMkLst>
            <pc:docMk/>
            <pc:sldMk cId="3722278822" sldId="273"/>
            <ac:graphicFrameMk id="2" creationId="{44D075B4-D369-473F-8040-FAA59DB0505B}"/>
          </ac:graphicFrameMkLst>
        </pc:graphicFrameChg>
      </pc:sldChg>
      <pc:sldChg chg="addSp delSp modSp del mod ord">
        <pc:chgData name="AIatPenn@outlook.com" userId="8de8cb70f1275d30" providerId="LiveId" clId="{738BF5A4-C738-4263-9426-F41A4C3771ED}" dt="2020-11-30T22:51:47.145" v="4645" actId="2696"/>
        <pc:sldMkLst>
          <pc:docMk/>
          <pc:sldMk cId="4260321935" sldId="274"/>
        </pc:sldMkLst>
        <pc:spChg chg="mod">
          <ac:chgData name="AIatPenn@outlook.com" userId="8de8cb70f1275d30" providerId="LiveId" clId="{738BF5A4-C738-4263-9426-F41A4C3771ED}" dt="2020-11-30T22:36:22.273" v="4579" actId="2711"/>
          <ac:spMkLst>
            <pc:docMk/>
            <pc:sldMk cId="4260321935" sldId="274"/>
            <ac:spMk id="78" creationId="{00000000-0000-0000-0000-000000000000}"/>
          </ac:spMkLst>
        </pc:spChg>
        <pc:spChg chg="mod">
          <ac:chgData name="AIatPenn@outlook.com" userId="8de8cb70f1275d30" providerId="LiveId" clId="{738BF5A4-C738-4263-9426-F41A4C3771ED}" dt="2020-11-30T16:59:24.178" v="1367" actId="20577"/>
          <ac:spMkLst>
            <pc:docMk/>
            <pc:sldMk cId="4260321935" sldId="274"/>
            <ac:spMk id="79" creationId="{00000000-0000-0000-0000-000000000000}"/>
          </ac:spMkLst>
        </pc:spChg>
        <pc:picChg chg="add del mod">
          <ac:chgData name="AIatPenn@outlook.com" userId="8de8cb70f1275d30" providerId="LiveId" clId="{738BF5A4-C738-4263-9426-F41A4C3771ED}" dt="2020-11-30T16:38:01.652" v="578"/>
          <ac:picMkLst>
            <pc:docMk/>
            <pc:sldMk cId="4260321935" sldId="274"/>
            <ac:picMk id="6" creationId="{398C51A6-5E04-4F53-B1D6-3006ACC6B471}"/>
          </ac:picMkLst>
        </pc:picChg>
        <pc:picChg chg="add mod">
          <ac:chgData name="AIatPenn@outlook.com" userId="8de8cb70f1275d30" providerId="LiveId" clId="{738BF5A4-C738-4263-9426-F41A4C3771ED}" dt="2020-11-30T16:38:12.071" v="580" actId="1076"/>
          <ac:picMkLst>
            <pc:docMk/>
            <pc:sldMk cId="4260321935" sldId="274"/>
            <ac:picMk id="7" creationId="{FF096ECF-265C-41F7-BDF2-3DA24EFD5B62}"/>
          </ac:picMkLst>
        </pc:picChg>
      </pc:sldChg>
      <pc:sldChg chg="del">
        <pc:chgData name="AIatPenn@outlook.com" userId="8de8cb70f1275d30" providerId="LiveId" clId="{738BF5A4-C738-4263-9426-F41A4C3771ED}" dt="2020-11-30T17:31:37.188" v="1974" actId="2696"/>
        <pc:sldMkLst>
          <pc:docMk/>
          <pc:sldMk cId="1247741496" sldId="275"/>
        </pc:sldMkLst>
      </pc:sldChg>
      <pc:sldChg chg="addSp delSp modSp mod ord modAnim">
        <pc:chgData name="AIatPenn@outlook.com" userId="8de8cb70f1275d30" providerId="LiveId" clId="{738BF5A4-C738-4263-9426-F41A4C3771ED}" dt="2020-12-02T00:10:06.283" v="6236"/>
        <pc:sldMkLst>
          <pc:docMk/>
          <pc:sldMk cId="3932268384" sldId="276"/>
        </pc:sldMkLst>
        <pc:spChg chg="add mod">
          <ac:chgData name="AIatPenn@outlook.com" userId="8de8cb70f1275d30" providerId="LiveId" clId="{738BF5A4-C738-4263-9426-F41A4C3771ED}" dt="2020-12-02T00:07:26.257" v="6233"/>
          <ac:spMkLst>
            <pc:docMk/>
            <pc:sldMk cId="3932268384" sldId="276"/>
            <ac:spMk id="7" creationId="{F6FD1DB9-607F-4733-AFE7-246DB7CB2289}"/>
          </ac:spMkLst>
        </pc:spChg>
        <pc:spChg chg="mod">
          <ac:chgData name="AIatPenn@outlook.com" userId="8de8cb70f1275d30" providerId="LiveId" clId="{738BF5A4-C738-4263-9426-F41A4C3771ED}" dt="2020-11-30T19:47:31.733" v="3628" actId="20577"/>
          <ac:spMkLst>
            <pc:docMk/>
            <pc:sldMk cId="3932268384" sldId="276"/>
            <ac:spMk id="78" creationId="{00000000-0000-0000-0000-000000000000}"/>
          </ac:spMkLst>
        </pc:spChg>
        <pc:spChg chg="mod">
          <ac:chgData name="AIatPenn@outlook.com" userId="8de8cb70f1275d30" providerId="LiveId" clId="{738BF5A4-C738-4263-9426-F41A4C3771ED}" dt="2020-12-01T21:41:09.018" v="4791" actId="14100"/>
          <ac:spMkLst>
            <pc:docMk/>
            <pc:sldMk cId="3932268384" sldId="276"/>
            <ac:spMk id="79" creationId="{00000000-0000-0000-0000-000000000000}"/>
          </ac:spMkLst>
        </pc:spChg>
        <pc:graphicFrameChg chg="add del mod">
          <ac:chgData name="AIatPenn@outlook.com" userId="8de8cb70f1275d30" providerId="LiveId" clId="{738BF5A4-C738-4263-9426-F41A4C3771ED}" dt="2020-11-30T19:38:29.565" v="3479" actId="478"/>
          <ac:graphicFrameMkLst>
            <pc:docMk/>
            <pc:sldMk cId="3932268384" sldId="276"/>
            <ac:graphicFrameMk id="7" creationId="{1924D6D5-A137-44C5-ACA5-4F279E05798D}"/>
          </ac:graphicFrameMkLst>
        </pc:graphicFrameChg>
        <pc:graphicFrameChg chg="add del mod">
          <ac:chgData name="AIatPenn@outlook.com" userId="8de8cb70f1275d30" providerId="LiveId" clId="{738BF5A4-C738-4263-9426-F41A4C3771ED}" dt="2020-11-30T21:56:41.550" v="4331" actId="2711"/>
          <ac:graphicFrameMkLst>
            <pc:docMk/>
            <pc:sldMk cId="3932268384" sldId="276"/>
            <ac:graphicFrameMk id="8" creationId="{C43E2FC4-5193-4EAD-A546-4132FE1B1003}"/>
          </ac:graphicFrameMkLst>
        </pc:graphicFrameChg>
        <pc:picChg chg="del">
          <ac:chgData name="AIatPenn@outlook.com" userId="8de8cb70f1275d30" providerId="LiveId" clId="{738BF5A4-C738-4263-9426-F41A4C3771ED}" dt="2020-11-30T17:55:07.778" v="2594" actId="478"/>
          <ac:picMkLst>
            <pc:docMk/>
            <pc:sldMk cId="3932268384" sldId="276"/>
            <ac:picMk id="6" creationId="{3D3E5112-3D22-984F-ADF2-65B26234AD72}"/>
          </ac:picMkLst>
        </pc:picChg>
      </pc:sldChg>
      <pc:sldChg chg="addSp modSp mod ord">
        <pc:chgData name="AIatPenn@outlook.com" userId="8de8cb70f1275d30" providerId="LiveId" clId="{738BF5A4-C738-4263-9426-F41A4C3771ED}" dt="2020-12-02T00:01:39.798" v="6219" actId="1076"/>
        <pc:sldMkLst>
          <pc:docMk/>
          <pc:sldMk cId="941426274" sldId="278"/>
        </pc:sldMkLst>
        <pc:spChg chg="mod">
          <ac:chgData name="AIatPenn@outlook.com" userId="8de8cb70f1275d30" providerId="LiveId" clId="{738BF5A4-C738-4263-9426-F41A4C3771ED}" dt="2020-12-02T00:01:23.236" v="6215" actId="20577"/>
          <ac:spMkLst>
            <pc:docMk/>
            <pc:sldMk cId="941426274" sldId="278"/>
            <ac:spMk id="78" creationId="{00000000-0000-0000-0000-000000000000}"/>
          </ac:spMkLst>
        </pc:spChg>
        <pc:spChg chg="mod">
          <ac:chgData name="AIatPenn@outlook.com" userId="8de8cb70f1275d30" providerId="LiveId" clId="{738BF5A4-C738-4263-9426-F41A4C3771ED}" dt="2020-11-30T17:52:27.065" v="2489" actId="20577"/>
          <ac:spMkLst>
            <pc:docMk/>
            <pc:sldMk cId="941426274" sldId="278"/>
            <ac:spMk id="79" creationId="{00000000-0000-0000-0000-000000000000}"/>
          </ac:spMkLst>
        </pc:spChg>
        <pc:picChg chg="add mod">
          <ac:chgData name="AIatPenn@outlook.com" userId="8de8cb70f1275d30" providerId="LiveId" clId="{738BF5A4-C738-4263-9426-F41A4C3771ED}" dt="2020-12-02T00:01:39.798" v="6219" actId="1076"/>
          <ac:picMkLst>
            <pc:docMk/>
            <pc:sldMk cId="941426274" sldId="278"/>
            <ac:picMk id="3" creationId="{3257B624-3404-4F00-911D-05DE7DAFFB9D}"/>
          </ac:picMkLst>
        </pc:picChg>
      </pc:sldChg>
      <pc:sldChg chg="addSp modSp mod ord modNotesTx">
        <pc:chgData name="AIatPenn@outlook.com" userId="8de8cb70f1275d30" providerId="LiveId" clId="{738BF5A4-C738-4263-9426-F41A4C3771ED}" dt="2020-12-01T22:46:43.281" v="5650" actId="20577"/>
        <pc:sldMkLst>
          <pc:docMk/>
          <pc:sldMk cId="1977046394" sldId="284"/>
        </pc:sldMkLst>
        <pc:spChg chg="mod ord">
          <ac:chgData name="AIatPenn@outlook.com" userId="8de8cb70f1275d30" providerId="LiveId" clId="{738BF5A4-C738-4263-9426-F41A4C3771ED}" dt="2020-12-01T22:46:43.281" v="5650" actId="20577"/>
          <ac:spMkLst>
            <pc:docMk/>
            <pc:sldMk cId="1977046394" sldId="284"/>
            <ac:spMk id="78" creationId="{00000000-0000-0000-0000-000000000000}"/>
          </ac:spMkLst>
        </pc:spChg>
        <pc:spChg chg="mod ord">
          <ac:chgData name="AIatPenn@outlook.com" userId="8de8cb70f1275d30" providerId="LiveId" clId="{738BF5A4-C738-4263-9426-F41A4C3771ED}" dt="2020-11-30T22:48:15.627" v="4612"/>
          <ac:spMkLst>
            <pc:docMk/>
            <pc:sldMk cId="1977046394" sldId="284"/>
            <ac:spMk id="79" creationId="{00000000-0000-0000-0000-000000000000}"/>
          </ac:spMkLst>
        </pc:spChg>
        <pc:spChg chg="mod ord">
          <ac:chgData name="AIatPenn@outlook.com" userId="8de8cb70f1275d30" providerId="LiveId" clId="{738BF5A4-C738-4263-9426-F41A4C3771ED}" dt="2020-11-30T22:48:15.628" v="4614"/>
          <ac:spMkLst>
            <pc:docMk/>
            <pc:sldMk cId="1977046394" sldId="284"/>
            <ac:spMk id="80" creationId="{00000000-0000-0000-0000-000000000000}"/>
          </ac:spMkLst>
        </pc:spChg>
        <pc:graphicFrameChg chg="add mod ord modVis">
          <ac:chgData name="AIatPenn@outlook.com" userId="8de8cb70f1275d30" providerId="LiveId" clId="{738BF5A4-C738-4263-9426-F41A4C3771ED}" dt="2020-11-30T22:48:15.652" v="4629"/>
          <ac:graphicFrameMkLst>
            <pc:docMk/>
            <pc:sldMk cId="1977046394" sldId="284"/>
            <ac:graphicFrameMk id="2" creationId="{BE3EA7DC-40D6-4E41-BBAC-E54149B3709F}"/>
          </ac:graphicFrameMkLst>
        </pc:graphicFrameChg>
        <pc:picChg chg="mod ord">
          <ac:chgData name="AIatPenn@outlook.com" userId="8de8cb70f1275d30" providerId="LiveId" clId="{738BF5A4-C738-4263-9426-F41A4C3771ED}" dt="2020-11-30T22:48:15.625" v="4608"/>
          <ac:picMkLst>
            <pc:docMk/>
            <pc:sldMk cId="1977046394" sldId="284"/>
            <ac:picMk id="77" creationId="{00000000-0000-0000-0000-000000000000}"/>
          </ac:picMkLst>
        </pc:picChg>
      </pc:sldChg>
      <pc:sldChg chg="addSp delSp modSp mod">
        <pc:chgData name="AIatPenn@outlook.com" userId="8de8cb70f1275d30" providerId="LiveId" clId="{738BF5A4-C738-4263-9426-F41A4C3771ED}" dt="2020-11-30T22:45:22.267" v="4606" actId="207"/>
        <pc:sldMkLst>
          <pc:docMk/>
          <pc:sldMk cId="1931980260" sldId="285"/>
        </pc:sldMkLst>
        <pc:spChg chg="add del mod ord">
          <ac:chgData name="AIatPenn@outlook.com" userId="8de8cb70f1275d30" providerId="LiveId" clId="{738BF5A4-C738-4263-9426-F41A4C3771ED}" dt="2020-11-30T21:47:09.400" v="4320"/>
          <ac:spMkLst>
            <pc:docMk/>
            <pc:sldMk cId="1931980260" sldId="285"/>
            <ac:spMk id="10" creationId="{384D80FC-E1E8-4FD0-8C9F-31C4C1DBD9D2}"/>
          </ac:spMkLst>
        </pc:spChg>
        <pc:spChg chg="add del mod ord">
          <ac:chgData name="AIatPenn@outlook.com" userId="8de8cb70f1275d30" providerId="LiveId" clId="{738BF5A4-C738-4263-9426-F41A4C3771ED}" dt="2020-11-30T21:47:09.401" v="4322"/>
          <ac:spMkLst>
            <pc:docMk/>
            <pc:sldMk cId="1931980260" sldId="285"/>
            <ac:spMk id="11" creationId="{E1D68B1E-5BEE-41B1-A4E6-5D00AFC05BF7}"/>
          </ac:spMkLst>
        </pc:spChg>
        <pc:spChg chg="mod ord">
          <ac:chgData name="AIatPenn@outlook.com" userId="8de8cb70f1275d30" providerId="LiveId" clId="{738BF5A4-C738-4263-9426-F41A4C3771ED}" dt="2020-11-30T21:46:55.447" v="4252"/>
          <ac:spMkLst>
            <pc:docMk/>
            <pc:sldMk cId="1931980260" sldId="285"/>
            <ac:spMk id="79" creationId="{00000000-0000-0000-0000-000000000000}"/>
          </ac:spMkLst>
        </pc:spChg>
        <pc:spChg chg="mod ord">
          <ac:chgData name="AIatPenn@outlook.com" userId="8de8cb70f1275d30" providerId="LiveId" clId="{738BF5A4-C738-4263-9426-F41A4C3771ED}" dt="2020-11-30T21:46:55.447" v="4254"/>
          <ac:spMkLst>
            <pc:docMk/>
            <pc:sldMk cId="1931980260" sldId="285"/>
            <ac:spMk id="80" creationId="{00000000-0000-0000-0000-000000000000}"/>
          </ac:spMkLst>
        </pc:spChg>
        <pc:graphicFrameChg chg="mod">
          <ac:chgData name="AIatPenn@outlook.com" userId="8de8cb70f1275d30" providerId="LiveId" clId="{738BF5A4-C738-4263-9426-F41A4C3771ED}" dt="2020-11-30T21:57:56.074" v="4340" actId="20577"/>
          <ac:graphicFrameMkLst>
            <pc:docMk/>
            <pc:sldMk cId="1931980260" sldId="285"/>
            <ac:graphicFrameMk id="3" creationId="{469494BB-DEBA-4B15-8E31-8A4929EAF720}"/>
          </ac:graphicFrameMkLst>
        </pc:graphicFrameChg>
        <pc:graphicFrameChg chg="add mod ord modVis">
          <ac:chgData name="AIatPenn@outlook.com" userId="8de8cb70f1275d30" providerId="LiveId" clId="{738BF5A4-C738-4263-9426-F41A4C3771ED}" dt="2020-11-30T21:47:09.408" v="4324"/>
          <ac:graphicFrameMkLst>
            <pc:docMk/>
            <pc:sldMk cId="1931980260" sldId="285"/>
            <ac:graphicFrameMk id="12" creationId="{8F2B9C90-0350-4F63-BD70-A785996D5FFA}"/>
          </ac:graphicFrameMkLst>
        </pc:graphicFrameChg>
        <pc:picChg chg="add mod ord">
          <ac:chgData name="AIatPenn@outlook.com" userId="8de8cb70f1275d30" providerId="LiveId" clId="{738BF5A4-C738-4263-9426-F41A4C3771ED}" dt="2020-11-30T22:45:21.924" v="4605" actId="207"/>
          <ac:picMkLst>
            <pc:docMk/>
            <pc:sldMk cId="1931980260" sldId="285"/>
            <ac:picMk id="5" creationId="{E5CAB1DE-6C89-4042-9D60-0F8B9782A471}"/>
          </ac:picMkLst>
        </pc:picChg>
        <pc:picChg chg="add mod ord">
          <ac:chgData name="AIatPenn@outlook.com" userId="8de8cb70f1275d30" providerId="LiveId" clId="{738BF5A4-C738-4263-9426-F41A4C3771ED}" dt="2020-11-30T22:45:22.267" v="4606" actId="207"/>
          <ac:picMkLst>
            <pc:docMk/>
            <pc:sldMk cId="1931980260" sldId="285"/>
            <ac:picMk id="7" creationId="{4878379A-2539-4BAC-A507-E014648D1AC0}"/>
          </ac:picMkLst>
        </pc:picChg>
        <pc:picChg chg="add mod ord">
          <ac:chgData name="AIatPenn@outlook.com" userId="8de8cb70f1275d30" providerId="LiveId" clId="{738BF5A4-C738-4263-9426-F41A4C3771ED}" dt="2020-11-30T22:45:21.677" v="4604" actId="207"/>
          <ac:picMkLst>
            <pc:docMk/>
            <pc:sldMk cId="1931980260" sldId="285"/>
            <ac:picMk id="9" creationId="{89971442-E553-4C7B-AB4B-F864182D4C42}"/>
          </ac:picMkLst>
        </pc:picChg>
        <pc:picChg chg="mod ord modVis">
          <ac:chgData name="AIatPenn@outlook.com" userId="8de8cb70f1275d30" providerId="LiveId" clId="{738BF5A4-C738-4263-9426-F41A4C3771ED}" dt="2020-11-30T21:46:55.446" v="4249"/>
          <ac:picMkLst>
            <pc:docMk/>
            <pc:sldMk cId="1931980260" sldId="285"/>
            <ac:picMk id="77" creationId="{00000000-0000-0000-0000-000000000000}"/>
          </ac:picMkLst>
        </pc:picChg>
      </pc:sldChg>
      <pc:sldChg chg="addSp modSp mod">
        <pc:chgData name="AIatPenn@outlook.com" userId="8de8cb70f1275d30" providerId="LiveId" clId="{738BF5A4-C738-4263-9426-F41A4C3771ED}" dt="2020-12-01T22:49:33.749" v="5676" actId="20577"/>
        <pc:sldMkLst>
          <pc:docMk/>
          <pc:sldMk cId="4100649474" sldId="286"/>
        </pc:sldMkLst>
        <pc:spChg chg="mod">
          <ac:chgData name="AIatPenn@outlook.com" userId="8de8cb70f1275d30" providerId="LiveId" clId="{738BF5A4-C738-4263-9426-F41A4C3771ED}" dt="2020-12-01T22:49:33.749" v="5676" actId="20577"/>
          <ac:spMkLst>
            <pc:docMk/>
            <pc:sldMk cId="4100649474" sldId="286"/>
            <ac:spMk id="78" creationId="{00000000-0000-0000-0000-000000000000}"/>
          </ac:spMkLst>
        </pc:spChg>
        <pc:spChg chg="mod">
          <ac:chgData name="AIatPenn@outlook.com" userId="8de8cb70f1275d30" providerId="LiveId" clId="{738BF5A4-C738-4263-9426-F41A4C3771ED}" dt="2020-11-30T17:52:21.140" v="2484" actId="20577"/>
          <ac:spMkLst>
            <pc:docMk/>
            <pc:sldMk cId="4100649474" sldId="286"/>
            <ac:spMk id="79" creationId="{00000000-0000-0000-0000-000000000000}"/>
          </ac:spMkLst>
        </pc:spChg>
        <pc:spChg chg="mod">
          <ac:chgData name="AIatPenn@outlook.com" userId="8de8cb70f1275d30" providerId="LiveId" clId="{738BF5A4-C738-4263-9426-F41A4C3771ED}" dt="2020-11-30T22:40:32.266" v="4599" actId="207"/>
          <ac:spMkLst>
            <pc:docMk/>
            <pc:sldMk cId="4100649474" sldId="286"/>
            <ac:spMk id="80" creationId="{00000000-0000-0000-0000-000000000000}"/>
          </ac:spMkLst>
        </pc:spChg>
        <pc:picChg chg="mod">
          <ac:chgData name="AIatPenn@outlook.com" userId="8de8cb70f1275d30" providerId="LiveId" clId="{738BF5A4-C738-4263-9426-F41A4C3771ED}" dt="2020-11-30T21:58:18.832" v="4342" actId="14861"/>
          <ac:picMkLst>
            <pc:docMk/>
            <pc:sldMk cId="4100649474" sldId="286"/>
            <ac:picMk id="3" creationId="{8346B6CA-68B1-4610-ABC7-AFED529FFE81}"/>
          </ac:picMkLst>
        </pc:picChg>
        <pc:picChg chg="add mod">
          <ac:chgData name="AIatPenn@outlook.com" userId="8de8cb70f1275d30" providerId="LiveId" clId="{738BF5A4-C738-4263-9426-F41A4C3771ED}" dt="2020-11-30T22:39:02.110" v="4592" actId="207"/>
          <ac:picMkLst>
            <pc:docMk/>
            <pc:sldMk cId="4100649474" sldId="286"/>
            <ac:picMk id="7" creationId="{1A401FFD-327C-49DB-B857-14C6B7AF3554}"/>
          </ac:picMkLst>
        </pc:picChg>
      </pc:sldChg>
      <pc:sldChg chg="addSp modSp mod">
        <pc:chgData name="AIatPenn@outlook.com" userId="8de8cb70f1275d30" providerId="LiveId" clId="{738BF5A4-C738-4263-9426-F41A4C3771ED}" dt="2020-12-01T22:49:41.828" v="5678" actId="20577"/>
        <pc:sldMkLst>
          <pc:docMk/>
          <pc:sldMk cId="211436109" sldId="287"/>
        </pc:sldMkLst>
        <pc:spChg chg="mod">
          <ac:chgData name="AIatPenn@outlook.com" userId="8de8cb70f1275d30" providerId="LiveId" clId="{738BF5A4-C738-4263-9426-F41A4C3771ED}" dt="2020-12-01T22:49:41.828" v="5678" actId="20577"/>
          <ac:spMkLst>
            <pc:docMk/>
            <pc:sldMk cId="211436109" sldId="287"/>
            <ac:spMk id="78" creationId="{00000000-0000-0000-0000-000000000000}"/>
          </ac:spMkLst>
        </pc:spChg>
        <pc:picChg chg="mod modCrop">
          <ac:chgData name="AIatPenn@outlook.com" userId="8de8cb70f1275d30" providerId="LiveId" clId="{738BF5A4-C738-4263-9426-F41A4C3771ED}" dt="2020-12-01T21:54:08.338" v="4971" actId="732"/>
          <ac:picMkLst>
            <pc:docMk/>
            <pc:sldMk cId="211436109" sldId="287"/>
            <ac:picMk id="4" creationId="{31171E1F-CAA2-4332-9F36-76A4AAC8BC4C}"/>
          </ac:picMkLst>
        </pc:picChg>
        <pc:picChg chg="add mod">
          <ac:chgData name="AIatPenn@outlook.com" userId="8de8cb70f1275d30" providerId="LiveId" clId="{738BF5A4-C738-4263-9426-F41A4C3771ED}" dt="2020-11-30T16:15:10.504" v="48" actId="1036"/>
          <ac:picMkLst>
            <pc:docMk/>
            <pc:sldMk cId="211436109" sldId="287"/>
            <ac:picMk id="7" creationId="{53DDA5A2-0E72-4688-A894-8B352E02ABF1}"/>
          </ac:picMkLst>
        </pc:picChg>
      </pc:sldChg>
      <pc:sldChg chg="addSp modSp add mod ord">
        <pc:chgData name="AIatPenn@outlook.com" userId="8de8cb70f1275d30" providerId="LiveId" clId="{738BF5A4-C738-4263-9426-F41A4C3771ED}" dt="2020-12-01T22:47:22.281" v="5665" actId="20577"/>
        <pc:sldMkLst>
          <pc:docMk/>
          <pc:sldMk cId="3381013056" sldId="288"/>
        </pc:sldMkLst>
        <pc:spChg chg="mod">
          <ac:chgData name="AIatPenn@outlook.com" userId="8de8cb70f1275d30" providerId="LiveId" clId="{738BF5A4-C738-4263-9426-F41A4C3771ED}" dt="2020-11-30T20:19:31.702" v="3743" actId="313"/>
          <ac:spMkLst>
            <pc:docMk/>
            <pc:sldMk cId="3381013056" sldId="288"/>
            <ac:spMk id="78" creationId="{00000000-0000-0000-0000-000000000000}"/>
          </ac:spMkLst>
        </pc:spChg>
        <pc:spChg chg="mod">
          <ac:chgData name="AIatPenn@outlook.com" userId="8de8cb70f1275d30" providerId="LiveId" clId="{738BF5A4-C738-4263-9426-F41A4C3771ED}" dt="2020-12-01T22:47:22.281" v="5665" actId="20577"/>
          <ac:spMkLst>
            <pc:docMk/>
            <pc:sldMk cId="3381013056" sldId="288"/>
            <ac:spMk id="79" creationId="{00000000-0000-0000-0000-000000000000}"/>
          </ac:spMkLst>
        </pc:spChg>
        <pc:picChg chg="add mod">
          <ac:chgData name="AIatPenn@outlook.com" userId="8de8cb70f1275d30" providerId="LiveId" clId="{738BF5A4-C738-4263-9426-F41A4C3771ED}" dt="2020-12-01T22:20:55.469" v="5468" actId="1038"/>
          <ac:picMkLst>
            <pc:docMk/>
            <pc:sldMk cId="3381013056" sldId="288"/>
            <ac:picMk id="3" creationId="{0CABD658-4D15-43D3-8009-79758648A4BB}"/>
          </ac:picMkLst>
        </pc:picChg>
        <pc:picChg chg="add mod">
          <ac:chgData name="AIatPenn@outlook.com" userId="8de8cb70f1275d30" providerId="LiveId" clId="{738BF5A4-C738-4263-9426-F41A4C3771ED}" dt="2020-12-01T22:21:00.862" v="5470" actId="1076"/>
          <ac:picMkLst>
            <pc:docMk/>
            <pc:sldMk cId="3381013056" sldId="288"/>
            <ac:picMk id="5" creationId="{0535E67A-C723-47D9-B66A-39AE16E410D3}"/>
          </ac:picMkLst>
        </pc:picChg>
      </pc:sldChg>
      <pc:sldChg chg="addSp delSp modSp add del mod">
        <pc:chgData name="AIatPenn@outlook.com" userId="8de8cb70f1275d30" providerId="LiveId" clId="{738BF5A4-C738-4263-9426-F41A4C3771ED}" dt="2020-11-30T18:16:23.776" v="3200" actId="2696"/>
        <pc:sldMkLst>
          <pc:docMk/>
          <pc:sldMk cId="467518683" sldId="289"/>
        </pc:sldMkLst>
        <pc:spChg chg="add del mod">
          <ac:chgData name="AIatPenn@outlook.com" userId="8de8cb70f1275d30" providerId="LiveId" clId="{738BF5A4-C738-4263-9426-F41A4C3771ED}" dt="2020-11-30T18:03:51.443" v="2799" actId="12084"/>
          <ac:spMkLst>
            <pc:docMk/>
            <pc:sldMk cId="467518683" sldId="289"/>
            <ac:spMk id="78" creationId="{00000000-0000-0000-0000-000000000000}"/>
          </ac:spMkLst>
        </pc:spChg>
        <pc:graphicFrameChg chg="add del mod">
          <ac:chgData name="AIatPenn@outlook.com" userId="8de8cb70f1275d30" providerId="LiveId" clId="{738BF5A4-C738-4263-9426-F41A4C3771ED}" dt="2020-11-30T18:03:44.642" v="2798" actId="12084"/>
          <ac:graphicFrameMkLst>
            <pc:docMk/>
            <pc:sldMk cId="467518683" sldId="289"/>
            <ac:graphicFrameMk id="2" creationId="{18A4A26A-6AC8-4154-AA49-13E8A203C019}"/>
          </ac:graphicFrameMkLst>
        </pc:graphicFrameChg>
        <pc:graphicFrameChg chg="add mod">
          <ac:chgData name="AIatPenn@outlook.com" userId="8de8cb70f1275d30" providerId="LiveId" clId="{738BF5A4-C738-4263-9426-F41A4C3771ED}" dt="2020-11-30T18:13:12.079" v="3179" actId="207"/>
          <ac:graphicFrameMkLst>
            <pc:docMk/>
            <pc:sldMk cId="467518683" sldId="289"/>
            <ac:graphicFrameMk id="3" creationId="{5A97F131-B6D3-45AA-92A1-ABB82F786267}"/>
          </ac:graphicFrameMkLst>
        </pc:graphicFrameChg>
      </pc:sldChg>
      <pc:sldChg chg="modSp add mod ord">
        <pc:chgData name="AIatPenn@outlook.com" userId="8de8cb70f1275d30" providerId="LiveId" clId="{738BF5A4-C738-4263-9426-F41A4C3771ED}" dt="2020-12-02T00:10:36.884" v="6238"/>
        <pc:sldMkLst>
          <pc:docMk/>
          <pc:sldMk cId="2918856536" sldId="289"/>
        </pc:sldMkLst>
        <pc:spChg chg="mod">
          <ac:chgData name="AIatPenn@outlook.com" userId="8de8cb70f1275d30" providerId="LiveId" clId="{738BF5A4-C738-4263-9426-F41A4C3771ED}" dt="2020-11-30T20:08:32.713" v="3701" actId="14100"/>
          <ac:spMkLst>
            <pc:docMk/>
            <pc:sldMk cId="2918856536" sldId="289"/>
            <ac:spMk id="78" creationId="{00000000-0000-0000-0000-000000000000}"/>
          </ac:spMkLst>
        </pc:spChg>
        <pc:spChg chg="mod">
          <ac:chgData name="AIatPenn@outlook.com" userId="8de8cb70f1275d30" providerId="LiveId" clId="{738BF5A4-C738-4263-9426-F41A4C3771ED}" dt="2020-12-01T21:41:26.146" v="4803" actId="14100"/>
          <ac:spMkLst>
            <pc:docMk/>
            <pc:sldMk cId="2918856536" sldId="289"/>
            <ac:spMk id="79" creationId="{00000000-0000-0000-0000-000000000000}"/>
          </ac:spMkLst>
        </pc:spChg>
        <pc:graphicFrameChg chg="mod">
          <ac:chgData name="AIatPenn@outlook.com" userId="8de8cb70f1275d30" providerId="LiveId" clId="{738BF5A4-C738-4263-9426-F41A4C3771ED}" dt="2020-11-30T22:31:12.335" v="4555" actId="2711"/>
          <ac:graphicFrameMkLst>
            <pc:docMk/>
            <pc:sldMk cId="2918856536" sldId="289"/>
            <ac:graphicFrameMk id="7" creationId="{1924D6D5-A137-44C5-ACA5-4F279E05798D}"/>
          </ac:graphicFrameMkLst>
        </pc:graphicFrameChg>
      </pc:sldChg>
      <pc:sldChg chg="delSp modSp mod">
        <pc:chgData name="AIatPenn@outlook.com" userId="8de8cb70f1275d30" providerId="LiveId" clId="{738BF5A4-C738-4263-9426-F41A4C3771ED}" dt="2020-12-01T23:57:26.914" v="6199" actId="20577"/>
        <pc:sldMkLst>
          <pc:docMk/>
          <pc:sldMk cId="3873400469" sldId="290"/>
        </pc:sldMkLst>
        <pc:spChg chg="mod">
          <ac:chgData name="AIatPenn@outlook.com" userId="8de8cb70f1275d30" providerId="LiveId" clId="{738BF5A4-C738-4263-9426-F41A4C3771ED}" dt="2020-12-01T23:57:26.914" v="6199" actId="20577"/>
          <ac:spMkLst>
            <pc:docMk/>
            <pc:sldMk cId="3873400469" sldId="290"/>
            <ac:spMk id="78" creationId="{00000000-0000-0000-0000-000000000000}"/>
          </ac:spMkLst>
        </pc:spChg>
        <pc:spChg chg="mod">
          <ac:chgData name="AIatPenn@outlook.com" userId="8de8cb70f1275d30" providerId="LiveId" clId="{738BF5A4-C738-4263-9426-F41A4C3771ED}" dt="2020-12-01T22:13:32.643" v="5336" actId="20577"/>
          <ac:spMkLst>
            <pc:docMk/>
            <pc:sldMk cId="3873400469" sldId="290"/>
            <ac:spMk id="79" creationId="{00000000-0000-0000-0000-000000000000}"/>
          </ac:spMkLst>
        </pc:spChg>
        <pc:picChg chg="del mod">
          <ac:chgData name="AIatPenn@outlook.com" userId="8de8cb70f1275d30" providerId="LiveId" clId="{738BF5A4-C738-4263-9426-F41A4C3771ED}" dt="2020-12-01T23:56:08.465" v="6176" actId="478"/>
          <ac:picMkLst>
            <pc:docMk/>
            <pc:sldMk cId="3873400469" sldId="290"/>
            <ac:picMk id="2" creationId="{58D1866D-4F40-41B8-9F2D-B0853F6A3E11}"/>
          </ac:picMkLst>
        </pc:picChg>
        <pc:picChg chg="mod modCrop">
          <ac:chgData name="AIatPenn@outlook.com" userId="8de8cb70f1275d30" providerId="LiveId" clId="{738BF5A4-C738-4263-9426-F41A4C3771ED}" dt="2020-12-01T23:57:25.292" v="6198" actId="1076"/>
          <ac:picMkLst>
            <pc:docMk/>
            <pc:sldMk cId="3873400469" sldId="290"/>
            <ac:picMk id="3" creationId="{D82795C6-EB23-4A0B-AA6A-DDDB3D1902AD}"/>
          </ac:picMkLst>
        </pc:picChg>
        <pc:picChg chg="mod">
          <ac:chgData name="AIatPenn@outlook.com" userId="8de8cb70f1275d30" providerId="LiveId" clId="{738BF5A4-C738-4263-9426-F41A4C3771ED}" dt="2020-12-01T23:56:54.681" v="6187" actId="1076"/>
          <ac:picMkLst>
            <pc:docMk/>
            <pc:sldMk cId="3873400469" sldId="290"/>
            <ac:picMk id="77" creationId="{00000000-0000-0000-0000-000000000000}"/>
          </ac:picMkLst>
        </pc:picChg>
      </pc:sldChg>
      <pc:sldChg chg="modSp mod">
        <pc:chgData name="AIatPenn@outlook.com" userId="8de8cb70f1275d30" providerId="LiveId" clId="{738BF5A4-C738-4263-9426-F41A4C3771ED}" dt="2020-12-01T22:20:09.723" v="5448" actId="113"/>
        <pc:sldMkLst>
          <pc:docMk/>
          <pc:sldMk cId="1903243828" sldId="291"/>
        </pc:sldMkLst>
        <pc:spChg chg="mod">
          <ac:chgData name="AIatPenn@outlook.com" userId="8de8cb70f1275d30" providerId="LiveId" clId="{738BF5A4-C738-4263-9426-F41A4C3771ED}" dt="2020-12-01T22:20:09.723" v="5448" actId="113"/>
          <ac:spMkLst>
            <pc:docMk/>
            <pc:sldMk cId="1903243828" sldId="291"/>
            <ac:spMk id="78" creationId="{00000000-0000-0000-0000-000000000000}"/>
          </ac:spMkLst>
        </pc:spChg>
        <pc:spChg chg="mod">
          <ac:chgData name="AIatPenn@outlook.com" userId="8de8cb70f1275d30" providerId="LiveId" clId="{738BF5A4-C738-4263-9426-F41A4C3771ED}" dt="2020-11-30T22:37:39.617" v="4589" actId="20577"/>
          <ac:spMkLst>
            <pc:docMk/>
            <pc:sldMk cId="1903243828" sldId="291"/>
            <ac:spMk id="79" creationId="{00000000-0000-0000-0000-000000000000}"/>
          </ac:spMkLst>
        </pc:spChg>
        <pc:picChg chg="mod">
          <ac:chgData name="AIatPenn@outlook.com" userId="8de8cb70f1275d30" providerId="LiveId" clId="{738BF5A4-C738-4263-9426-F41A4C3771ED}" dt="2020-12-01T22:12:20.354" v="5332" actId="1076"/>
          <ac:picMkLst>
            <pc:docMk/>
            <pc:sldMk cId="1903243828" sldId="291"/>
            <ac:picMk id="4" creationId="{94D6C1CD-266B-4B4A-AE34-BF9FB3011AAD}"/>
          </ac:picMkLst>
        </pc:picChg>
      </pc:sldChg>
      <pc:sldChg chg="modSp mod">
        <pc:chgData name="AIatPenn@outlook.com" userId="8de8cb70f1275d30" providerId="LiveId" clId="{738BF5A4-C738-4263-9426-F41A4C3771ED}" dt="2020-12-01T22:13:08.013" v="5335" actId="255"/>
        <pc:sldMkLst>
          <pc:docMk/>
          <pc:sldMk cId="566684869" sldId="292"/>
        </pc:sldMkLst>
        <pc:spChg chg="mod">
          <ac:chgData name="AIatPenn@outlook.com" userId="8de8cb70f1275d30" providerId="LiveId" clId="{738BF5A4-C738-4263-9426-F41A4C3771ED}" dt="2020-12-01T22:13:08.013" v="5335" actId="255"/>
          <ac:spMkLst>
            <pc:docMk/>
            <pc:sldMk cId="566684869" sldId="292"/>
            <ac:spMk id="78" creationId="{00000000-0000-0000-0000-000000000000}"/>
          </ac:spMkLst>
        </pc:spChg>
        <pc:spChg chg="mod">
          <ac:chgData name="AIatPenn@outlook.com" userId="8de8cb70f1275d30" providerId="LiveId" clId="{738BF5A4-C738-4263-9426-F41A4C3771ED}" dt="2020-11-30T22:59:17.772" v="4650" actId="20577"/>
          <ac:spMkLst>
            <pc:docMk/>
            <pc:sldMk cId="566684869" sldId="292"/>
            <ac:spMk id="79" creationId="{00000000-0000-0000-0000-000000000000}"/>
          </ac:spMkLst>
        </pc:spChg>
        <pc:picChg chg="mod">
          <ac:chgData name="AIatPenn@outlook.com" userId="8de8cb70f1275d30" providerId="LiveId" clId="{738BF5A4-C738-4263-9426-F41A4C3771ED}" dt="2020-11-30T22:59:04.964" v="4647" actId="14861"/>
          <ac:picMkLst>
            <pc:docMk/>
            <pc:sldMk cId="566684869" sldId="292"/>
            <ac:picMk id="2" creationId="{064B2750-59AD-4D85-A64D-51D78052542E}"/>
          </ac:picMkLst>
        </pc:picChg>
      </pc:sldChg>
      <pc:sldChg chg="addSp modSp add mod ord">
        <pc:chgData name="AIatPenn@outlook.com" userId="8de8cb70f1275d30" providerId="LiveId" clId="{738BF5A4-C738-4263-9426-F41A4C3771ED}" dt="2020-12-01T22:27:44.437" v="5513" actId="207"/>
        <pc:sldMkLst>
          <pc:docMk/>
          <pc:sldMk cId="2714965112" sldId="293"/>
        </pc:sldMkLst>
        <pc:spChg chg="mod">
          <ac:chgData name="AIatPenn@outlook.com" userId="8de8cb70f1275d30" providerId="LiveId" clId="{738BF5A4-C738-4263-9426-F41A4C3771ED}" dt="2020-12-01T22:27:44.437" v="5513" actId="207"/>
          <ac:spMkLst>
            <pc:docMk/>
            <pc:sldMk cId="2714965112" sldId="293"/>
            <ac:spMk id="78" creationId="{00000000-0000-0000-0000-000000000000}"/>
          </ac:spMkLst>
        </pc:spChg>
        <pc:spChg chg="mod">
          <ac:chgData name="AIatPenn@outlook.com" userId="8de8cb70f1275d30" providerId="LiveId" clId="{738BF5A4-C738-4263-9426-F41A4C3771ED}" dt="2020-11-30T22:17:54.379" v="4378" actId="20577"/>
          <ac:spMkLst>
            <pc:docMk/>
            <pc:sldMk cId="2714965112" sldId="293"/>
            <ac:spMk id="79" creationId="{00000000-0000-0000-0000-000000000000}"/>
          </ac:spMkLst>
        </pc:spChg>
        <pc:picChg chg="add mod">
          <ac:chgData name="AIatPenn@outlook.com" userId="8de8cb70f1275d30" providerId="LiveId" clId="{738BF5A4-C738-4263-9426-F41A4C3771ED}" dt="2020-12-01T22:26:56.167" v="5507" actId="1076"/>
          <ac:picMkLst>
            <pc:docMk/>
            <pc:sldMk cId="2714965112" sldId="293"/>
            <ac:picMk id="3" creationId="{47D12CB9-ECF5-4935-B7AA-1DA015F968A2}"/>
          </ac:picMkLst>
        </pc:picChg>
      </pc:sldChg>
      <pc:sldChg chg="delSp modSp add mod ord">
        <pc:chgData name="AIatPenn@outlook.com" userId="8de8cb70f1275d30" providerId="LiveId" clId="{738BF5A4-C738-4263-9426-F41A4C3771ED}" dt="2020-12-01T23:51:03.585" v="6153" actId="20577"/>
        <pc:sldMkLst>
          <pc:docMk/>
          <pc:sldMk cId="1894131583" sldId="294"/>
        </pc:sldMkLst>
        <pc:spChg chg="mod">
          <ac:chgData name="AIatPenn@outlook.com" userId="8de8cb70f1275d30" providerId="LiveId" clId="{738BF5A4-C738-4263-9426-F41A4C3771ED}" dt="2020-12-01T23:51:03.585" v="6153" actId="20577"/>
          <ac:spMkLst>
            <pc:docMk/>
            <pc:sldMk cId="1894131583" sldId="294"/>
            <ac:spMk id="78" creationId="{00000000-0000-0000-0000-000000000000}"/>
          </ac:spMkLst>
        </pc:spChg>
        <pc:spChg chg="mod">
          <ac:chgData name="AIatPenn@outlook.com" userId="8de8cb70f1275d30" providerId="LiveId" clId="{738BF5A4-C738-4263-9426-F41A4C3771ED}" dt="2020-12-01T22:47:42.356" v="5674" actId="20577"/>
          <ac:spMkLst>
            <pc:docMk/>
            <pc:sldMk cId="1894131583" sldId="294"/>
            <ac:spMk id="79" creationId="{00000000-0000-0000-0000-000000000000}"/>
          </ac:spMkLst>
        </pc:spChg>
        <pc:picChg chg="del">
          <ac:chgData name="AIatPenn@outlook.com" userId="8de8cb70f1275d30" providerId="LiveId" clId="{738BF5A4-C738-4263-9426-F41A4C3771ED}" dt="2020-11-30T22:51:14.899" v="4639" actId="478"/>
          <ac:picMkLst>
            <pc:docMk/>
            <pc:sldMk cId="1894131583" sldId="294"/>
            <ac:picMk id="3" creationId="{0CABD658-4D15-43D3-8009-79758648A4BB}"/>
          </ac:picMkLst>
        </pc:picChg>
        <pc:picChg chg="del">
          <ac:chgData name="AIatPenn@outlook.com" userId="8de8cb70f1275d30" providerId="LiveId" clId="{738BF5A4-C738-4263-9426-F41A4C3771ED}" dt="2020-11-30T22:51:15.576" v="4640" actId="478"/>
          <ac:picMkLst>
            <pc:docMk/>
            <pc:sldMk cId="1894131583" sldId="294"/>
            <ac:picMk id="5" creationId="{0535E67A-C723-47D9-B66A-39AE16E410D3}"/>
          </ac:picMkLst>
        </pc:picChg>
      </pc:sldChg>
      <pc:sldChg chg="add del">
        <pc:chgData name="AIatPenn@outlook.com" userId="8de8cb70f1275d30" providerId="LiveId" clId="{738BF5A4-C738-4263-9426-F41A4C3771ED}" dt="2020-11-30T22:51:21.414" v="4642"/>
        <pc:sldMkLst>
          <pc:docMk/>
          <pc:sldMk cId="3377805153" sldId="295"/>
        </pc:sldMkLst>
      </pc:sldChg>
      <pc:sldChg chg="addSp delSp modSp add mod">
        <pc:chgData name="AIatPenn@outlook.com" userId="8de8cb70f1275d30" providerId="LiveId" clId="{738BF5A4-C738-4263-9426-F41A4C3771ED}" dt="2020-12-02T00:14:20.300" v="6251"/>
        <pc:sldMkLst>
          <pc:docMk/>
          <pc:sldMk cId="3619911459" sldId="295"/>
        </pc:sldMkLst>
        <pc:spChg chg="add del mod">
          <ac:chgData name="AIatPenn@outlook.com" userId="8de8cb70f1275d30" providerId="LiveId" clId="{738BF5A4-C738-4263-9426-F41A4C3771ED}" dt="2020-12-01T22:57:27.143" v="5708" actId="478"/>
          <ac:spMkLst>
            <pc:docMk/>
            <pc:sldMk cId="3619911459" sldId="295"/>
            <ac:spMk id="4" creationId="{7E1F1A73-7FFB-4C04-966C-8824E8BCA71F}"/>
          </ac:spMkLst>
        </pc:spChg>
        <pc:spChg chg="add mod">
          <ac:chgData name="AIatPenn@outlook.com" userId="8de8cb70f1275d30" providerId="LiveId" clId="{738BF5A4-C738-4263-9426-F41A4C3771ED}" dt="2020-12-02T00:14:19.949" v="6250" actId="1076"/>
          <ac:spMkLst>
            <pc:docMk/>
            <pc:sldMk cId="3619911459" sldId="295"/>
            <ac:spMk id="7" creationId="{D6A05D40-87B6-4CCB-91E9-C0E246D4CF97}"/>
          </ac:spMkLst>
        </pc:spChg>
        <pc:spChg chg="add del mod">
          <ac:chgData name="AIatPenn@outlook.com" userId="8de8cb70f1275d30" providerId="LiveId" clId="{738BF5A4-C738-4263-9426-F41A4C3771ED}" dt="2020-12-02T00:14:20.300" v="6251"/>
          <ac:spMkLst>
            <pc:docMk/>
            <pc:sldMk cId="3619911459" sldId="295"/>
            <ac:spMk id="12" creationId="{ED05C4FD-8059-4475-99C0-ED4D1A9F593A}"/>
          </ac:spMkLst>
        </pc:spChg>
        <pc:spChg chg="mod">
          <ac:chgData name="AIatPenn@outlook.com" userId="8de8cb70f1275d30" providerId="LiveId" clId="{738BF5A4-C738-4263-9426-F41A4C3771ED}" dt="2020-12-01T22:46:11.601" v="5649" actId="20577"/>
          <ac:spMkLst>
            <pc:docMk/>
            <pc:sldMk cId="3619911459" sldId="295"/>
            <ac:spMk id="78" creationId="{00000000-0000-0000-0000-000000000000}"/>
          </ac:spMkLst>
        </pc:spChg>
        <pc:spChg chg="mod">
          <ac:chgData name="AIatPenn@outlook.com" userId="8de8cb70f1275d30" providerId="LiveId" clId="{738BF5A4-C738-4263-9426-F41A4C3771ED}" dt="2020-11-30T23:24:03.299" v="4690" actId="20577"/>
          <ac:spMkLst>
            <pc:docMk/>
            <pc:sldMk cId="3619911459" sldId="295"/>
            <ac:spMk id="79" creationId="{00000000-0000-0000-0000-000000000000}"/>
          </ac:spMkLst>
        </pc:spChg>
        <pc:picChg chg="del">
          <ac:chgData name="AIatPenn@outlook.com" userId="8de8cb70f1275d30" providerId="LiveId" clId="{738BF5A4-C738-4263-9426-F41A4C3771ED}" dt="2020-11-30T23:24:07.998" v="4692" actId="478"/>
          <ac:picMkLst>
            <pc:docMk/>
            <pc:sldMk cId="3619911459" sldId="295"/>
            <ac:picMk id="3" creationId="{47D12CB9-ECF5-4935-B7AA-1DA015F968A2}"/>
          </ac:picMkLst>
        </pc:picChg>
        <pc:picChg chg="add mod modCrop">
          <ac:chgData name="AIatPenn@outlook.com" userId="8de8cb70f1275d30" providerId="LiveId" clId="{738BF5A4-C738-4263-9426-F41A4C3771ED}" dt="2020-12-01T22:58:33.839" v="5723" actId="1036"/>
          <ac:picMkLst>
            <pc:docMk/>
            <pc:sldMk cId="3619911459" sldId="295"/>
            <ac:picMk id="3" creationId="{C50C54F7-52F2-4262-99D3-8332D71D5113}"/>
          </ac:picMkLst>
        </pc:picChg>
        <pc:cxnChg chg="add del">
          <ac:chgData name="AIatPenn@outlook.com" userId="8de8cb70f1275d30" providerId="LiveId" clId="{738BF5A4-C738-4263-9426-F41A4C3771ED}" dt="2020-12-01T22:57:39.129" v="5710" actId="478"/>
          <ac:cxnSpMkLst>
            <pc:docMk/>
            <pc:sldMk cId="3619911459" sldId="295"/>
            <ac:cxnSpMk id="6" creationId="{4E81EB81-6FC4-43FD-AA2A-DA1C590CBEF0}"/>
          </ac:cxnSpMkLst>
        </pc:cxnChg>
      </pc:sldChg>
      <pc:sldChg chg="addSp delSp modSp add mod chgLayout">
        <pc:chgData name="AIatPenn@outlook.com" userId="8de8cb70f1275d30" providerId="LiveId" clId="{738BF5A4-C738-4263-9426-F41A4C3771ED}" dt="2020-12-01T23:56:04.684" v="6175" actId="1076"/>
        <pc:sldMkLst>
          <pc:docMk/>
          <pc:sldMk cId="329313445" sldId="296"/>
        </pc:sldMkLst>
        <pc:spChg chg="add del mod ord">
          <ac:chgData name="AIatPenn@outlook.com" userId="8de8cb70f1275d30" providerId="LiveId" clId="{738BF5A4-C738-4263-9426-F41A4C3771ED}" dt="2020-12-01T23:13:57.350" v="5818" actId="700"/>
          <ac:spMkLst>
            <pc:docMk/>
            <pc:sldMk cId="329313445" sldId="296"/>
            <ac:spMk id="3" creationId="{BF25B25C-D83A-42B2-82AB-CF6EBFFB098C}"/>
          </ac:spMkLst>
        </pc:spChg>
        <pc:spChg chg="mod ord">
          <ac:chgData name="AIatPenn@outlook.com" userId="8de8cb70f1275d30" providerId="LiveId" clId="{738BF5A4-C738-4263-9426-F41A4C3771ED}" dt="2020-12-01T23:55:54.520" v="6172" actId="20577"/>
          <ac:spMkLst>
            <pc:docMk/>
            <pc:sldMk cId="329313445" sldId="296"/>
            <ac:spMk id="78" creationId="{00000000-0000-0000-0000-000000000000}"/>
          </ac:spMkLst>
        </pc:spChg>
        <pc:spChg chg="mod">
          <ac:chgData name="AIatPenn@outlook.com" userId="8de8cb70f1275d30" providerId="LiveId" clId="{738BF5A4-C738-4263-9426-F41A4C3771ED}" dt="2020-12-01T23:48:33.410" v="6003" actId="1035"/>
          <ac:spMkLst>
            <pc:docMk/>
            <pc:sldMk cId="329313445" sldId="296"/>
            <ac:spMk id="79" creationId="{00000000-0000-0000-0000-000000000000}"/>
          </ac:spMkLst>
        </pc:spChg>
        <pc:graphicFrameChg chg="add mod ord modVis">
          <ac:chgData name="AIatPenn@outlook.com" userId="8de8cb70f1275d30" providerId="LiveId" clId="{738BF5A4-C738-4263-9426-F41A4C3771ED}" dt="2020-12-01T23:13:57.895" v="5833"/>
          <ac:graphicFrameMkLst>
            <pc:docMk/>
            <pc:sldMk cId="329313445" sldId="296"/>
            <ac:graphicFrameMk id="4" creationId="{ACBBD780-FFDE-4206-9055-F28AC79498E3}"/>
          </ac:graphicFrameMkLst>
        </pc:graphicFrameChg>
        <pc:picChg chg="mod">
          <ac:chgData name="AIatPenn@outlook.com" userId="8de8cb70f1275d30" providerId="LiveId" clId="{738BF5A4-C738-4263-9426-F41A4C3771ED}" dt="2020-12-01T22:10:26.919" v="5315" actId="14100"/>
          <ac:picMkLst>
            <pc:docMk/>
            <pc:sldMk cId="329313445" sldId="296"/>
            <ac:picMk id="2" creationId="{064B2750-59AD-4D85-A64D-51D78052542E}"/>
          </ac:picMkLst>
        </pc:picChg>
        <pc:picChg chg="add mod">
          <ac:chgData name="AIatPenn@outlook.com" userId="8de8cb70f1275d30" providerId="LiveId" clId="{738BF5A4-C738-4263-9426-F41A4C3771ED}" dt="2020-12-01T23:56:04.684" v="6175" actId="1076"/>
          <ac:picMkLst>
            <pc:docMk/>
            <pc:sldMk cId="329313445" sldId="296"/>
            <ac:picMk id="10" creationId="{45A006CB-5AFE-45DF-A8B5-98F753E94F0F}"/>
          </ac:picMkLst>
        </pc:picChg>
      </pc:sldChg>
      <pc:sldChg chg="modSp add del mod">
        <pc:chgData name="AIatPenn@outlook.com" userId="8de8cb70f1275d30" providerId="LiveId" clId="{738BF5A4-C738-4263-9426-F41A4C3771ED}" dt="2020-12-01T21:59:28.858" v="5055"/>
        <pc:sldMkLst>
          <pc:docMk/>
          <pc:sldMk cId="830447477" sldId="296"/>
        </pc:sldMkLst>
        <pc:spChg chg="mod">
          <ac:chgData name="AIatPenn@outlook.com" userId="8de8cb70f1275d30" providerId="LiveId" clId="{738BF5A4-C738-4263-9426-F41A4C3771ED}" dt="2020-12-01T21:59:28.620" v="5054" actId="20577"/>
          <ac:spMkLst>
            <pc:docMk/>
            <pc:sldMk cId="830447477" sldId="296"/>
            <ac:spMk id="78" creationId="{00000000-0000-0000-0000-000000000000}"/>
          </ac:spMkLst>
        </pc:spChg>
      </pc:sldChg>
      <pc:sldChg chg="addSp delSp modSp add mod ord modAnim">
        <pc:chgData name="AIatPenn@outlook.com" userId="8de8cb70f1275d30" providerId="LiveId" clId="{738BF5A4-C738-4263-9426-F41A4C3771ED}" dt="2020-12-02T00:27:48.366" v="6302"/>
        <pc:sldMkLst>
          <pc:docMk/>
          <pc:sldMk cId="4012897238" sldId="297"/>
        </pc:sldMkLst>
        <pc:spChg chg="add mod">
          <ac:chgData name="AIatPenn@outlook.com" userId="8de8cb70f1275d30" providerId="LiveId" clId="{738BF5A4-C738-4263-9426-F41A4C3771ED}" dt="2020-12-01T23:52:11.694" v="6159" actId="1076"/>
          <ac:spMkLst>
            <pc:docMk/>
            <pc:sldMk cId="4012897238" sldId="297"/>
            <ac:spMk id="4" creationId="{D9BD652B-04F2-43A6-8E43-92162185316F}"/>
          </ac:spMkLst>
        </pc:spChg>
        <pc:spChg chg="mod topLvl">
          <ac:chgData name="AIatPenn@outlook.com" userId="8de8cb70f1275d30" providerId="LiveId" clId="{738BF5A4-C738-4263-9426-F41A4C3771ED}" dt="2020-12-02T00:15:25.767" v="6255" actId="165"/>
          <ac:spMkLst>
            <pc:docMk/>
            <pc:sldMk cId="4012897238" sldId="297"/>
            <ac:spMk id="6" creationId="{D9B9C97C-630A-4542-855D-F665A6DD6A6B}"/>
          </ac:spMkLst>
        </pc:spChg>
        <pc:spChg chg="mod topLvl">
          <ac:chgData name="AIatPenn@outlook.com" userId="8de8cb70f1275d30" providerId="LiveId" clId="{738BF5A4-C738-4263-9426-F41A4C3771ED}" dt="2020-12-02T00:15:25.767" v="6255" actId="165"/>
          <ac:spMkLst>
            <pc:docMk/>
            <pc:sldMk cId="4012897238" sldId="297"/>
            <ac:spMk id="8" creationId="{DECD7DE8-CCC4-496F-B8D2-30A4A91075F3}"/>
          </ac:spMkLst>
        </pc:spChg>
        <pc:spChg chg="mod topLvl">
          <ac:chgData name="AIatPenn@outlook.com" userId="8de8cb70f1275d30" providerId="LiveId" clId="{738BF5A4-C738-4263-9426-F41A4C3771ED}" dt="2020-12-02T00:15:25.767" v="6255" actId="165"/>
          <ac:spMkLst>
            <pc:docMk/>
            <pc:sldMk cId="4012897238" sldId="297"/>
            <ac:spMk id="9" creationId="{7671BF0B-9168-4011-AC3B-88E3A61F906A}"/>
          </ac:spMkLst>
        </pc:spChg>
        <pc:spChg chg="mod topLvl">
          <ac:chgData name="AIatPenn@outlook.com" userId="8de8cb70f1275d30" providerId="LiveId" clId="{738BF5A4-C738-4263-9426-F41A4C3771ED}" dt="2020-12-02T00:15:25.767" v="6255" actId="165"/>
          <ac:spMkLst>
            <pc:docMk/>
            <pc:sldMk cId="4012897238" sldId="297"/>
            <ac:spMk id="10" creationId="{74977C6D-39CF-408D-B247-54CC6C72F700}"/>
          </ac:spMkLst>
        </pc:spChg>
        <pc:spChg chg="mod topLvl">
          <ac:chgData name="AIatPenn@outlook.com" userId="8de8cb70f1275d30" providerId="LiveId" clId="{738BF5A4-C738-4263-9426-F41A4C3771ED}" dt="2020-12-02T00:15:25.767" v="6255" actId="165"/>
          <ac:spMkLst>
            <pc:docMk/>
            <pc:sldMk cId="4012897238" sldId="297"/>
            <ac:spMk id="11" creationId="{D2C5F84B-001C-4348-8E40-B1A440AE83DC}"/>
          </ac:spMkLst>
        </pc:spChg>
        <pc:spChg chg="mod">
          <ac:chgData name="AIatPenn@outlook.com" userId="8de8cb70f1275d30" providerId="LiveId" clId="{738BF5A4-C738-4263-9426-F41A4C3771ED}" dt="2020-12-01T23:11:47.305" v="5812" actId="14100"/>
          <ac:spMkLst>
            <pc:docMk/>
            <pc:sldMk cId="4012897238" sldId="297"/>
            <ac:spMk id="78" creationId="{00000000-0000-0000-0000-000000000000}"/>
          </ac:spMkLst>
        </pc:spChg>
        <pc:spChg chg="mod">
          <ac:chgData name="AIatPenn@outlook.com" userId="8de8cb70f1275d30" providerId="LiveId" clId="{738BF5A4-C738-4263-9426-F41A4C3771ED}" dt="2020-12-01T23:48:04.705" v="5982" actId="20577"/>
          <ac:spMkLst>
            <pc:docMk/>
            <pc:sldMk cId="4012897238" sldId="297"/>
            <ac:spMk id="79" creationId="{00000000-0000-0000-0000-000000000000}"/>
          </ac:spMkLst>
        </pc:spChg>
        <pc:grpChg chg="del mod">
          <ac:chgData name="AIatPenn@outlook.com" userId="8de8cb70f1275d30" providerId="LiveId" clId="{738BF5A4-C738-4263-9426-F41A4C3771ED}" dt="2020-12-02T00:15:25.767" v="6255" actId="165"/>
          <ac:grpSpMkLst>
            <pc:docMk/>
            <pc:sldMk cId="4012897238" sldId="297"/>
            <ac:grpSpMk id="5" creationId="{3A512144-F186-46DA-8FBF-C6F08D90BB37}"/>
          </ac:grpSpMkLst>
        </pc:grpChg>
        <pc:graphicFrameChg chg="add del mod modGraphic">
          <ac:chgData name="AIatPenn@outlook.com" userId="8de8cb70f1275d30" providerId="LiveId" clId="{738BF5A4-C738-4263-9426-F41A4C3771ED}" dt="2020-12-01T22:09:00.369" v="5297" actId="1032"/>
          <ac:graphicFrameMkLst>
            <pc:docMk/>
            <pc:sldMk cId="4012897238" sldId="297"/>
            <ac:graphicFrameMk id="3" creationId="{64DBF0B8-7848-4058-904B-DA26F74947C2}"/>
          </ac:graphicFrameMkLst>
        </pc:graphicFrameChg>
        <pc:graphicFrameChg chg="del mod">
          <ac:chgData name="AIatPenn@outlook.com" userId="8de8cb70f1275d30" providerId="LiveId" clId="{738BF5A4-C738-4263-9426-F41A4C3771ED}" dt="2020-12-02T00:15:19.742" v="6254" actId="18245"/>
          <ac:graphicFrameMkLst>
            <pc:docMk/>
            <pc:sldMk cId="4012897238" sldId="297"/>
            <ac:graphicFrameMk id="3" creationId="{DF647E31-4D09-42CA-BF40-DC6E6937C1D3}"/>
          </ac:graphicFrameMkLst>
        </pc:graphicFrameChg>
      </pc:sldChg>
      <pc:sldMasterChg chg="addSp modSp mod">
        <pc:chgData name="AIatPenn@outlook.com" userId="8de8cb70f1275d30" providerId="LiveId" clId="{738BF5A4-C738-4263-9426-F41A4C3771ED}" dt="2020-11-30T21:46:55.482" v="4279"/>
        <pc:sldMasterMkLst>
          <pc:docMk/>
          <pc:sldMasterMk cId="0" sldId="2147483659"/>
        </pc:sldMasterMkLst>
        <pc:graphicFrameChg chg="add mod ord modVis">
          <ac:chgData name="AIatPenn@outlook.com" userId="8de8cb70f1275d30" providerId="LiveId" clId="{738BF5A4-C738-4263-9426-F41A4C3771ED}" dt="2020-11-30T21:46:55.482" v="4279"/>
          <ac:graphicFrameMkLst>
            <pc:docMk/>
            <pc:sldMasterMk cId="0" sldId="2147483659"/>
            <ac:graphicFrameMk id="2" creationId="{065C10E0-B477-48B1-87EC-0CCC1B6FE4FE}"/>
          </ac:graphicFrameMkLst>
        </pc:graphicFrameChg>
      </pc:sldMasterChg>
    </pc:docChg>
  </pc:docChgLst>
  <pc:docChgLst>
    <pc:chgData name="Guest User" userId="8de8cb70f1275d30" providerId="Windows Live" clId="Web-{06063200-8D47-4878-AB2A-5D58AECD2F6B}"/>
    <pc:docChg chg="delSld modSld">
      <pc:chgData name="Guest User" userId="8de8cb70f1275d30" providerId="Windows Live" clId="Web-{06063200-8D47-4878-AB2A-5D58AECD2F6B}" dt="2020-11-30T22:35:29.034" v="9"/>
      <pc:docMkLst>
        <pc:docMk/>
      </pc:docMkLst>
      <pc:sldChg chg="del">
        <pc:chgData name="Guest User" userId="8de8cb70f1275d30" providerId="Windows Live" clId="Web-{06063200-8D47-4878-AB2A-5D58AECD2F6B}" dt="2020-11-30T22:35:26.065" v="8"/>
        <pc:sldMkLst>
          <pc:docMk/>
          <pc:sldMk cId="0" sldId="259"/>
        </pc:sldMkLst>
      </pc:sldChg>
      <pc:sldChg chg="del">
        <pc:chgData name="Guest User" userId="8de8cb70f1275d30" providerId="Windows Live" clId="Web-{06063200-8D47-4878-AB2A-5D58AECD2F6B}" dt="2020-11-30T22:35:29.034" v="9"/>
        <pc:sldMkLst>
          <pc:docMk/>
          <pc:sldMk cId="1220785973" sldId="277"/>
        </pc:sldMkLst>
      </pc:sldChg>
      <pc:sldChg chg="del">
        <pc:chgData name="Guest User" userId="8de8cb70f1275d30" providerId="Windows Live" clId="Web-{06063200-8D47-4878-AB2A-5D58AECD2F6B}" dt="2020-11-30T22:35:26.065" v="7"/>
        <pc:sldMkLst>
          <pc:docMk/>
          <pc:sldMk cId="2151937300" sldId="279"/>
        </pc:sldMkLst>
      </pc:sldChg>
      <pc:sldChg chg="del">
        <pc:chgData name="Guest User" userId="8de8cb70f1275d30" providerId="Windows Live" clId="Web-{06063200-8D47-4878-AB2A-5D58AECD2F6B}" dt="2020-11-30T22:35:26.065" v="6"/>
        <pc:sldMkLst>
          <pc:docMk/>
          <pc:sldMk cId="562584558" sldId="280"/>
        </pc:sldMkLst>
      </pc:sldChg>
      <pc:sldChg chg="del">
        <pc:chgData name="Guest User" userId="8de8cb70f1275d30" providerId="Windows Live" clId="Web-{06063200-8D47-4878-AB2A-5D58AECD2F6B}" dt="2020-11-30T22:35:26.065" v="5"/>
        <pc:sldMkLst>
          <pc:docMk/>
          <pc:sldMk cId="1204891668" sldId="281"/>
        </pc:sldMkLst>
      </pc:sldChg>
      <pc:sldChg chg="del">
        <pc:chgData name="Guest User" userId="8de8cb70f1275d30" providerId="Windows Live" clId="Web-{06063200-8D47-4878-AB2A-5D58AECD2F6B}" dt="2020-11-30T22:35:26.065" v="4"/>
        <pc:sldMkLst>
          <pc:docMk/>
          <pc:sldMk cId="3848980139" sldId="282"/>
        </pc:sldMkLst>
      </pc:sldChg>
      <pc:sldChg chg="modSp">
        <pc:chgData name="Guest User" userId="8de8cb70f1275d30" providerId="Windows Live" clId="Web-{06063200-8D47-4878-AB2A-5D58AECD2F6B}" dt="2020-11-30T22:33:30.155" v="3" actId="1076"/>
        <pc:sldMkLst>
          <pc:docMk/>
          <pc:sldMk cId="566684869" sldId="292"/>
        </pc:sldMkLst>
        <pc:spChg chg="mod">
          <ac:chgData name="Guest User" userId="8de8cb70f1275d30" providerId="Windows Live" clId="Web-{06063200-8D47-4878-AB2A-5D58AECD2F6B}" dt="2020-11-30T22:33:18.874" v="0" actId="14100"/>
          <ac:spMkLst>
            <pc:docMk/>
            <pc:sldMk cId="566684869" sldId="292"/>
            <ac:spMk id="78" creationId="{00000000-0000-0000-0000-000000000000}"/>
          </ac:spMkLst>
        </pc:spChg>
        <pc:picChg chg="mod">
          <ac:chgData name="Guest User" userId="8de8cb70f1275d30" providerId="Windows Live" clId="Web-{06063200-8D47-4878-AB2A-5D58AECD2F6B}" dt="2020-11-30T22:33:30.155" v="3" actId="1076"/>
          <ac:picMkLst>
            <pc:docMk/>
            <pc:sldMk cId="566684869" sldId="292"/>
            <ac:picMk id="2" creationId="{064B2750-59AD-4D85-A64D-51D78052542E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099A591-AF95-4DC2-8E66-414F67F55FC0}" type="doc">
      <dgm:prSet loTypeId="urn:microsoft.com/office/officeart/2005/8/layout/hProcess9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87F5414-64D3-4180-98E8-CAFC87B7C248}">
      <dgm:prSet/>
      <dgm:spPr>
        <a:solidFill>
          <a:srgbClr val="073763"/>
        </a:solidFill>
      </dgm:spPr>
      <dgm:t>
        <a:bodyPr/>
        <a:lstStyle/>
        <a:p>
          <a:r>
            <a:rPr lang="en-SG" b="0" i="0">
              <a:latin typeface="Roboto" panose="020B0604020202020204" charset="0"/>
              <a:cs typeface="Roboto" panose="020B0604020202020204" charset="0"/>
            </a:rPr>
            <a:t>Learn about the </a:t>
          </a:r>
          <a:r>
            <a:rPr lang="en-SG" b="1" i="0">
              <a:latin typeface="Roboto" panose="020B0604020202020204" charset="0"/>
              <a:cs typeface="Roboto" panose="020B0604020202020204" charset="0"/>
            </a:rPr>
            <a:t>Three Types</a:t>
          </a:r>
          <a:r>
            <a:rPr lang="en-SG" b="0" i="0">
              <a:latin typeface="Roboto" panose="020B0604020202020204" charset="0"/>
              <a:cs typeface="Roboto" panose="020B0604020202020204" charset="0"/>
            </a:rPr>
            <a:t> of Recommender Systems</a:t>
          </a:r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F05BEE7C-9768-4369-B895-8A9EA22F1A29}" type="parTrans" cxnId="{562EF928-8E04-4B2C-9499-1D43A00EE511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F381354C-4A0F-4A89-B5DE-5FA1C918D7FE}" type="sibTrans" cxnId="{562EF928-8E04-4B2C-9499-1D43A00EE511}">
      <dgm:prSet/>
      <dgm:spPr>
        <a:solidFill>
          <a:srgbClr val="85200C"/>
        </a:solidFill>
      </dgm:spPr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17E8A73E-3576-491E-8031-577C35830F04}">
      <dgm:prSet/>
      <dgm:spPr>
        <a:solidFill>
          <a:srgbClr val="073763"/>
        </a:solidFill>
      </dgm:spPr>
      <dgm:t>
        <a:bodyPr/>
        <a:lstStyle/>
        <a:p>
          <a:r>
            <a:rPr lang="en-SG" b="0" i="0">
              <a:latin typeface="Roboto" panose="020B0604020202020204" charset="0"/>
              <a:cs typeface="Roboto" panose="020B0604020202020204" charset="0"/>
            </a:rPr>
            <a:t>Explore </a:t>
          </a:r>
          <a:r>
            <a:rPr lang="en-SG" b="1" i="0">
              <a:latin typeface="Roboto" panose="020B0604020202020204" charset="0"/>
              <a:cs typeface="Roboto" panose="020B0604020202020204" charset="0"/>
            </a:rPr>
            <a:t>Real-World Applications </a:t>
          </a:r>
          <a:r>
            <a:rPr lang="en-SG" b="0" i="0">
              <a:latin typeface="Roboto" panose="020B0604020202020204" charset="0"/>
              <a:cs typeface="Roboto" panose="020B0604020202020204" charset="0"/>
            </a:rPr>
            <a:t>of Recommender Systems</a:t>
          </a:r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FD50F0A5-26E5-4C91-8FC2-4F7F32EA4B0A}" type="parTrans" cxnId="{534AE997-22A3-4FE2-B702-BCCCEFAB0A0A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F81A4076-873E-4368-BABC-434E9FB9ED32}" type="sibTrans" cxnId="{534AE997-22A3-4FE2-B702-BCCCEFAB0A0A}">
      <dgm:prSet/>
      <dgm:spPr>
        <a:solidFill>
          <a:srgbClr val="85200C"/>
        </a:solidFill>
      </dgm:spPr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8388A266-9207-42FF-BD2B-889BC258EAFC}">
      <dgm:prSet/>
      <dgm:spPr>
        <a:solidFill>
          <a:srgbClr val="073763"/>
        </a:solidFill>
      </dgm:spPr>
      <dgm:t>
        <a:bodyPr/>
        <a:lstStyle/>
        <a:p>
          <a:r>
            <a:rPr lang="en-SG" b="1" i="0">
              <a:latin typeface="Roboto" panose="020B0604020202020204" charset="0"/>
              <a:cs typeface="Roboto" panose="020B0604020202020204" charset="0"/>
            </a:rPr>
            <a:t>Program R.S.</a:t>
          </a:r>
          <a:r>
            <a:rPr lang="en-SG" b="0" i="0">
              <a:latin typeface="Roboto" panose="020B0604020202020204" charset="0"/>
              <a:cs typeface="Roboto" panose="020B0604020202020204" charset="0"/>
            </a:rPr>
            <a:t> in Google Collab to Give Movie Recommendations</a:t>
          </a:r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46FD0389-23FC-4E30-9D45-44694D192E15}" type="parTrans" cxnId="{4880B83B-8C71-4EAD-9115-197B23D33D45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4BD1B9A5-DD2A-436F-8AF8-B44E0196D683}" type="sibTrans" cxnId="{4880B83B-8C71-4EAD-9115-197B23D33D45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0E38FC24-EE72-4749-ACA2-170848FC49A1}">
      <dgm:prSet/>
      <dgm:spPr>
        <a:solidFill>
          <a:srgbClr val="073763"/>
        </a:solidFill>
      </dgm:spPr>
      <dgm:t>
        <a:bodyPr/>
        <a:lstStyle/>
        <a:p>
          <a:r>
            <a:rPr lang="en-US">
              <a:latin typeface="Roboto" panose="020B0604020202020204" charset="0"/>
              <a:cs typeface="Roboto" panose="020B0604020202020204" charset="0"/>
            </a:rPr>
            <a:t>Discuss the </a:t>
          </a:r>
          <a:r>
            <a:rPr lang="en-US" b="1">
              <a:latin typeface="Roboto" panose="020B0604020202020204" charset="0"/>
              <a:cs typeface="Roboto" panose="020B0604020202020204" charset="0"/>
            </a:rPr>
            <a:t>Structure</a:t>
          </a:r>
          <a:r>
            <a:rPr lang="en-US">
              <a:latin typeface="Roboto" panose="020B0604020202020204" charset="0"/>
              <a:cs typeface="Roboto" panose="020B0604020202020204" charset="0"/>
            </a:rPr>
            <a:t> and </a:t>
          </a:r>
          <a:r>
            <a:rPr lang="en-US" b="1">
              <a:latin typeface="Roboto" panose="020B0604020202020204" charset="0"/>
              <a:cs typeface="Roboto" panose="020B0604020202020204" charset="0"/>
            </a:rPr>
            <a:t>Objective</a:t>
          </a:r>
          <a:r>
            <a:rPr lang="en-US">
              <a:latin typeface="Roboto" panose="020B0604020202020204" charset="0"/>
              <a:cs typeface="Roboto" panose="020B0604020202020204" charset="0"/>
            </a:rPr>
            <a:t> of Recommender Systems</a:t>
          </a:r>
        </a:p>
      </dgm:t>
    </dgm:pt>
    <dgm:pt modelId="{F1F9FFC2-2CE8-4082-A7D4-1757FA06B2F0}" type="parTrans" cxnId="{A9C5BA67-074B-4922-9ECD-54B775F6A9F1}">
      <dgm:prSet/>
      <dgm:spPr/>
      <dgm:t>
        <a:bodyPr/>
        <a:lstStyle/>
        <a:p>
          <a:endParaRPr lang="en-US"/>
        </a:p>
      </dgm:t>
    </dgm:pt>
    <dgm:pt modelId="{31896454-B851-4111-8F2F-3634E203EC7D}" type="sibTrans" cxnId="{A9C5BA67-074B-4922-9ECD-54B775F6A9F1}">
      <dgm:prSet/>
      <dgm:spPr/>
      <dgm:t>
        <a:bodyPr/>
        <a:lstStyle/>
        <a:p>
          <a:endParaRPr lang="en-US"/>
        </a:p>
      </dgm:t>
    </dgm:pt>
    <dgm:pt modelId="{8D7538ED-70C6-4489-8F9E-6DAE05B12412}" type="pres">
      <dgm:prSet presAssocID="{9099A591-AF95-4DC2-8E66-414F67F55FC0}" presName="CompostProcess" presStyleCnt="0">
        <dgm:presLayoutVars>
          <dgm:dir/>
          <dgm:resizeHandles val="exact"/>
        </dgm:presLayoutVars>
      </dgm:prSet>
      <dgm:spPr/>
    </dgm:pt>
    <dgm:pt modelId="{7946E442-D51B-4BBC-B6D7-A2978E87E175}" type="pres">
      <dgm:prSet presAssocID="{9099A591-AF95-4DC2-8E66-414F67F55FC0}" presName="arrow" presStyleLbl="bgShp" presStyleIdx="0" presStyleCnt="1"/>
      <dgm:spPr>
        <a:solidFill>
          <a:srgbClr val="85200C"/>
        </a:solidFill>
      </dgm:spPr>
    </dgm:pt>
    <dgm:pt modelId="{24EDB4A9-5C3C-4713-82A3-ECB8244EEB90}" type="pres">
      <dgm:prSet presAssocID="{9099A591-AF95-4DC2-8E66-414F67F55FC0}" presName="linearProcess" presStyleCnt="0"/>
      <dgm:spPr/>
    </dgm:pt>
    <dgm:pt modelId="{8315AA98-632D-47A2-AB6B-A17F080C98FA}" type="pres">
      <dgm:prSet presAssocID="{0E38FC24-EE72-4749-ACA2-170848FC49A1}" presName="textNode" presStyleLbl="node1" presStyleIdx="0" presStyleCnt="4">
        <dgm:presLayoutVars>
          <dgm:bulletEnabled val="1"/>
        </dgm:presLayoutVars>
      </dgm:prSet>
      <dgm:spPr/>
    </dgm:pt>
    <dgm:pt modelId="{66FCC25D-61AD-4620-BC99-A64C781958C4}" type="pres">
      <dgm:prSet presAssocID="{31896454-B851-4111-8F2F-3634E203EC7D}" presName="sibTrans" presStyleCnt="0"/>
      <dgm:spPr/>
    </dgm:pt>
    <dgm:pt modelId="{7F1B22FC-1E7D-40A9-B413-81FA8FBC39CA}" type="pres">
      <dgm:prSet presAssocID="{887F5414-64D3-4180-98E8-CAFC87B7C248}" presName="textNode" presStyleLbl="node1" presStyleIdx="1" presStyleCnt="4">
        <dgm:presLayoutVars>
          <dgm:bulletEnabled val="1"/>
        </dgm:presLayoutVars>
      </dgm:prSet>
      <dgm:spPr/>
    </dgm:pt>
    <dgm:pt modelId="{F0C27FB5-B834-467E-B70E-42D1D363350E}" type="pres">
      <dgm:prSet presAssocID="{F381354C-4A0F-4A89-B5DE-5FA1C918D7FE}" presName="sibTrans" presStyleCnt="0"/>
      <dgm:spPr/>
    </dgm:pt>
    <dgm:pt modelId="{E6EC9F6F-9684-486B-875D-F24A51E5B569}" type="pres">
      <dgm:prSet presAssocID="{17E8A73E-3576-491E-8031-577C35830F04}" presName="textNode" presStyleLbl="node1" presStyleIdx="2" presStyleCnt="4">
        <dgm:presLayoutVars>
          <dgm:bulletEnabled val="1"/>
        </dgm:presLayoutVars>
      </dgm:prSet>
      <dgm:spPr/>
    </dgm:pt>
    <dgm:pt modelId="{42252A7C-26B0-41A0-A6B8-33B3832D1D80}" type="pres">
      <dgm:prSet presAssocID="{F81A4076-873E-4368-BABC-434E9FB9ED32}" presName="sibTrans" presStyleCnt="0"/>
      <dgm:spPr/>
    </dgm:pt>
    <dgm:pt modelId="{FDBE8D7E-C9F5-491A-9D41-33E7832526E5}" type="pres">
      <dgm:prSet presAssocID="{8388A266-9207-42FF-BD2B-889BC258EAFC}" presName="textNode" presStyleLbl="node1" presStyleIdx="3" presStyleCnt="4">
        <dgm:presLayoutVars>
          <dgm:bulletEnabled val="1"/>
        </dgm:presLayoutVars>
      </dgm:prSet>
      <dgm:spPr/>
    </dgm:pt>
  </dgm:ptLst>
  <dgm:cxnLst>
    <dgm:cxn modelId="{562EF928-8E04-4B2C-9499-1D43A00EE511}" srcId="{9099A591-AF95-4DC2-8E66-414F67F55FC0}" destId="{887F5414-64D3-4180-98E8-CAFC87B7C248}" srcOrd="1" destOrd="0" parTransId="{F05BEE7C-9768-4369-B895-8A9EA22F1A29}" sibTransId="{F381354C-4A0F-4A89-B5DE-5FA1C918D7FE}"/>
    <dgm:cxn modelId="{4880B83B-8C71-4EAD-9115-197B23D33D45}" srcId="{9099A591-AF95-4DC2-8E66-414F67F55FC0}" destId="{8388A266-9207-42FF-BD2B-889BC258EAFC}" srcOrd="3" destOrd="0" parTransId="{46FD0389-23FC-4E30-9D45-44694D192E15}" sibTransId="{4BD1B9A5-DD2A-436F-8AF8-B44E0196D683}"/>
    <dgm:cxn modelId="{A9C5BA67-074B-4922-9ECD-54B775F6A9F1}" srcId="{9099A591-AF95-4DC2-8E66-414F67F55FC0}" destId="{0E38FC24-EE72-4749-ACA2-170848FC49A1}" srcOrd="0" destOrd="0" parTransId="{F1F9FFC2-2CE8-4082-A7D4-1757FA06B2F0}" sibTransId="{31896454-B851-4111-8F2F-3634E203EC7D}"/>
    <dgm:cxn modelId="{3F602889-60E2-4CB3-BFC7-BBB999FE52DF}" type="presOf" srcId="{0E38FC24-EE72-4749-ACA2-170848FC49A1}" destId="{8315AA98-632D-47A2-AB6B-A17F080C98FA}" srcOrd="0" destOrd="0" presId="urn:microsoft.com/office/officeart/2005/8/layout/hProcess9"/>
    <dgm:cxn modelId="{534AE997-22A3-4FE2-B702-BCCCEFAB0A0A}" srcId="{9099A591-AF95-4DC2-8E66-414F67F55FC0}" destId="{17E8A73E-3576-491E-8031-577C35830F04}" srcOrd="2" destOrd="0" parTransId="{FD50F0A5-26E5-4C91-8FC2-4F7F32EA4B0A}" sibTransId="{F81A4076-873E-4368-BABC-434E9FB9ED32}"/>
    <dgm:cxn modelId="{DA18A6A7-E1D2-4B40-8B08-E4E2EF58844A}" type="presOf" srcId="{9099A591-AF95-4DC2-8E66-414F67F55FC0}" destId="{8D7538ED-70C6-4489-8F9E-6DAE05B12412}" srcOrd="0" destOrd="0" presId="urn:microsoft.com/office/officeart/2005/8/layout/hProcess9"/>
    <dgm:cxn modelId="{9D93C1C3-C2F8-455F-8112-069281E5206F}" type="presOf" srcId="{887F5414-64D3-4180-98E8-CAFC87B7C248}" destId="{7F1B22FC-1E7D-40A9-B413-81FA8FBC39CA}" srcOrd="0" destOrd="0" presId="urn:microsoft.com/office/officeart/2005/8/layout/hProcess9"/>
    <dgm:cxn modelId="{2A84A5D2-F506-4F03-A8EC-739808A23F1F}" type="presOf" srcId="{17E8A73E-3576-491E-8031-577C35830F04}" destId="{E6EC9F6F-9684-486B-875D-F24A51E5B569}" srcOrd="0" destOrd="0" presId="urn:microsoft.com/office/officeart/2005/8/layout/hProcess9"/>
    <dgm:cxn modelId="{764288DC-65BA-4FBC-B296-6E51121A5598}" type="presOf" srcId="{8388A266-9207-42FF-BD2B-889BC258EAFC}" destId="{FDBE8D7E-C9F5-491A-9D41-33E7832526E5}" srcOrd="0" destOrd="0" presId="urn:microsoft.com/office/officeart/2005/8/layout/hProcess9"/>
    <dgm:cxn modelId="{E71BAEBE-CE03-4870-8BF0-64B6261BC7CD}" type="presParOf" srcId="{8D7538ED-70C6-4489-8F9E-6DAE05B12412}" destId="{7946E442-D51B-4BBC-B6D7-A2978E87E175}" srcOrd="0" destOrd="0" presId="urn:microsoft.com/office/officeart/2005/8/layout/hProcess9"/>
    <dgm:cxn modelId="{050D97F5-FC63-4D32-9311-65B3B8F4A661}" type="presParOf" srcId="{8D7538ED-70C6-4489-8F9E-6DAE05B12412}" destId="{24EDB4A9-5C3C-4713-82A3-ECB8244EEB90}" srcOrd="1" destOrd="0" presId="urn:microsoft.com/office/officeart/2005/8/layout/hProcess9"/>
    <dgm:cxn modelId="{CF9057FF-37D7-468F-BA91-A598C5B1F878}" type="presParOf" srcId="{24EDB4A9-5C3C-4713-82A3-ECB8244EEB90}" destId="{8315AA98-632D-47A2-AB6B-A17F080C98FA}" srcOrd="0" destOrd="0" presId="urn:microsoft.com/office/officeart/2005/8/layout/hProcess9"/>
    <dgm:cxn modelId="{CB5FEF59-44F0-4617-A767-935E942D740F}" type="presParOf" srcId="{24EDB4A9-5C3C-4713-82A3-ECB8244EEB90}" destId="{66FCC25D-61AD-4620-BC99-A64C781958C4}" srcOrd="1" destOrd="0" presId="urn:microsoft.com/office/officeart/2005/8/layout/hProcess9"/>
    <dgm:cxn modelId="{85D637F2-C170-4626-BAA0-E2EA9120D8EE}" type="presParOf" srcId="{24EDB4A9-5C3C-4713-82A3-ECB8244EEB90}" destId="{7F1B22FC-1E7D-40A9-B413-81FA8FBC39CA}" srcOrd="2" destOrd="0" presId="urn:microsoft.com/office/officeart/2005/8/layout/hProcess9"/>
    <dgm:cxn modelId="{7B22FC1D-DF5C-49E1-A8AC-4C34739AFFB6}" type="presParOf" srcId="{24EDB4A9-5C3C-4713-82A3-ECB8244EEB90}" destId="{F0C27FB5-B834-467E-B70E-42D1D363350E}" srcOrd="3" destOrd="0" presId="urn:microsoft.com/office/officeart/2005/8/layout/hProcess9"/>
    <dgm:cxn modelId="{93ACAA31-B8B9-4E35-A323-9C8B05754C3F}" type="presParOf" srcId="{24EDB4A9-5C3C-4713-82A3-ECB8244EEB90}" destId="{E6EC9F6F-9684-486B-875D-F24A51E5B569}" srcOrd="4" destOrd="0" presId="urn:microsoft.com/office/officeart/2005/8/layout/hProcess9"/>
    <dgm:cxn modelId="{49799F8F-8F2D-4311-8949-48926D0BFB43}" type="presParOf" srcId="{24EDB4A9-5C3C-4713-82A3-ECB8244EEB90}" destId="{42252A7C-26B0-41A0-A6B8-33B3832D1D80}" srcOrd="5" destOrd="0" presId="urn:microsoft.com/office/officeart/2005/8/layout/hProcess9"/>
    <dgm:cxn modelId="{74B60620-4C0C-45E0-92D9-FBCD91A0D189}" type="presParOf" srcId="{24EDB4A9-5C3C-4713-82A3-ECB8244EEB90}" destId="{FDBE8D7E-C9F5-491A-9D41-33E7832526E5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273415F-F47C-4720-8107-E5ACCC6B9ED3}" type="doc">
      <dgm:prSet loTypeId="urn:microsoft.com/office/officeart/2005/8/layout/cycle3" loCatId="cycle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62A960B-A5DA-4047-B7F8-43081EF4D81A}">
      <dgm:prSet phldrT="[Text]"/>
      <dgm:spPr>
        <a:solidFill>
          <a:srgbClr val="073763"/>
        </a:solidFill>
      </dgm:spPr>
      <dgm:t>
        <a:bodyPr/>
        <a:lstStyle/>
        <a:p>
          <a:r>
            <a:rPr lang="en-US">
              <a:latin typeface="Roboto" panose="020B0604020202020204" charset="0"/>
              <a:cs typeface="Roboto" panose="020B0604020202020204" charset="0"/>
            </a:rPr>
            <a:t>RS is trained on current user preferences</a:t>
          </a:r>
        </a:p>
      </dgm:t>
    </dgm:pt>
    <dgm:pt modelId="{761E5EBB-899A-4001-8CC3-CD97EC7B8A95}" type="parTrans" cxnId="{8AB62F7D-7CB0-40A3-BBAB-AE9C4E701E74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1D85822C-93C9-4B30-8E64-68664410D0C9}" type="sibTrans" cxnId="{8AB62F7D-7CB0-40A3-BBAB-AE9C4E701E74}">
      <dgm:prSet/>
      <dgm:spPr>
        <a:solidFill>
          <a:srgbClr val="85200C"/>
        </a:solidFill>
      </dgm:spPr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355A8E03-222C-421D-A0BB-6B393581E366}">
      <dgm:prSet phldrT="[Text]"/>
      <dgm:spPr>
        <a:solidFill>
          <a:srgbClr val="073763"/>
        </a:solidFill>
      </dgm:spPr>
      <dgm:t>
        <a:bodyPr/>
        <a:lstStyle/>
        <a:p>
          <a:r>
            <a:rPr lang="en-US">
              <a:latin typeface="Roboto" panose="020B0604020202020204" charset="0"/>
              <a:cs typeface="Roboto" panose="020B0604020202020204" charset="0"/>
            </a:rPr>
            <a:t>RS makes content recommendations to users</a:t>
          </a:r>
        </a:p>
      </dgm:t>
    </dgm:pt>
    <dgm:pt modelId="{3CD5545C-C52C-430A-B14B-73EF4F4E21FD}" type="parTrans" cxnId="{260C837B-22E8-4A6A-992D-CD09B95256EC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600F5F71-D43C-4F3B-8377-AE144CD910A2}" type="sibTrans" cxnId="{260C837B-22E8-4A6A-992D-CD09B95256EC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A9A9B77C-DEF3-45C7-826B-CB234718410D}">
      <dgm:prSet phldrT="[Text]"/>
      <dgm:spPr>
        <a:solidFill>
          <a:srgbClr val="073763"/>
        </a:solidFill>
      </dgm:spPr>
      <dgm:t>
        <a:bodyPr/>
        <a:lstStyle/>
        <a:p>
          <a:r>
            <a:rPr lang="en-US">
              <a:latin typeface="Roboto" panose="020B0604020202020204" charset="0"/>
              <a:cs typeface="Roboto" panose="020B0604020202020204" charset="0"/>
            </a:rPr>
            <a:t>Users will each enjoy the content at varying levels</a:t>
          </a:r>
        </a:p>
      </dgm:t>
    </dgm:pt>
    <dgm:pt modelId="{EB1CC1AA-45ED-4F34-9359-BFEABE40C0EA}" type="parTrans" cxnId="{5E166DA9-4869-4000-83A7-16E903D8F070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7852C6DE-48FA-4104-A22C-5416177BF62F}" type="sibTrans" cxnId="{5E166DA9-4869-4000-83A7-16E903D8F070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81B0F64D-7611-4128-B31A-76113ABCA87D}">
      <dgm:prSet phldrT="[Text]"/>
      <dgm:spPr>
        <a:solidFill>
          <a:srgbClr val="073763"/>
        </a:solidFill>
      </dgm:spPr>
      <dgm:t>
        <a:bodyPr/>
        <a:lstStyle/>
        <a:p>
          <a:r>
            <a:rPr lang="en-US">
              <a:latin typeface="Roboto" panose="020B0604020202020204" charset="0"/>
              <a:cs typeface="Roboto" panose="020B0604020202020204" charset="0"/>
            </a:rPr>
            <a:t>Model performance is recorded and analyzed</a:t>
          </a:r>
        </a:p>
      </dgm:t>
    </dgm:pt>
    <dgm:pt modelId="{DF36DF53-B6CB-4F62-8A73-0C8D2A3D6A40}" type="parTrans" cxnId="{14CA5BAF-7BA1-4C07-8359-B67835F941F9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80EE512E-B088-4C4C-912E-360738EE3711}" type="sibTrans" cxnId="{14CA5BAF-7BA1-4C07-8359-B67835F941F9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21A7AC1F-DD1A-4581-A349-9F87259DE693}">
      <dgm:prSet phldrT="[Text]"/>
      <dgm:spPr>
        <a:solidFill>
          <a:srgbClr val="073763"/>
        </a:solidFill>
      </dgm:spPr>
      <dgm:t>
        <a:bodyPr/>
        <a:lstStyle/>
        <a:p>
          <a:r>
            <a:rPr lang="en-US">
              <a:latin typeface="Roboto" panose="020B0604020202020204" charset="0"/>
              <a:cs typeface="Roboto" panose="020B0604020202020204" charset="0"/>
            </a:rPr>
            <a:t>Users preferences are updated based on new data</a:t>
          </a:r>
        </a:p>
      </dgm:t>
    </dgm:pt>
    <dgm:pt modelId="{4747AD4D-C1CA-4269-9747-E5F4DD6C1577}" type="sibTrans" cxnId="{913DB2B1-3408-429F-8516-D3A92257D3A6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1A8096ED-FC6A-4298-8D45-08651A0320EA}" type="parTrans" cxnId="{913DB2B1-3408-429F-8516-D3A92257D3A6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5EE9948B-93AF-4C4C-A48B-6E56D2066451}" type="pres">
      <dgm:prSet presAssocID="{3273415F-F47C-4720-8107-E5ACCC6B9ED3}" presName="Name0" presStyleCnt="0">
        <dgm:presLayoutVars>
          <dgm:dir/>
          <dgm:resizeHandles val="exact"/>
        </dgm:presLayoutVars>
      </dgm:prSet>
      <dgm:spPr/>
    </dgm:pt>
    <dgm:pt modelId="{3A75D149-7F45-4BAC-B94C-6E1437E7C566}" type="pres">
      <dgm:prSet presAssocID="{3273415F-F47C-4720-8107-E5ACCC6B9ED3}" presName="cycle" presStyleCnt="0"/>
      <dgm:spPr/>
    </dgm:pt>
    <dgm:pt modelId="{1C0E49CC-3723-4DA5-86D6-64D5C358FBA2}" type="pres">
      <dgm:prSet presAssocID="{E62A960B-A5DA-4047-B7F8-43081EF4D81A}" presName="nodeFirstNode" presStyleLbl="node1" presStyleIdx="0" presStyleCnt="5">
        <dgm:presLayoutVars>
          <dgm:bulletEnabled val="1"/>
        </dgm:presLayoutVars>
      </dgm:prSet>
      <dgm:spPr/>
    </dgm:pt>
    <dgm:pt modelId="{06BD67D0-EE29-42CB-BC7F-5D1EBDAB6A02}" type="pres">
      <dgm:prSet presAssocID="{1D85822C-93C9-4B30-8E64-68664410D0C9}" presName="sibTransFirstNode" presStyleLbl="bgShp" presStyleIdx="0" presStyleCnt="1"/>
      <dgm:spPr/>
    </dgm:pt>
    <dgm:pt modelId="{3F1202CB-0F5C-4670-81C6-56DC3753814E}" type="pres">
      <dgm:prSet presAssocID="{355A8E03-222C-421D-A0BB-6B393581E366}" presName="nodeFollowingNodes" presStyleLbl="node1" presStyleIdx="1" presStyleCnt="5">
        <dgm:presLayoutVars>
          <dgm:bulletEnabled val="1"/>
        </dgm:presLayoutVars>
      </dgm:prSet>
      <dgm:spPr/>
    </dgm:pt>
    <dgm:pt modelId="{2C0EE731-38EF-4A26-8215-C8E8481AA6D4}" type="pres">
      <dgm:prSet presAssocID="{A9A9B77C-DEF3-45C7-826B-CB234718410D}" presName="nodeFollowingNodes" presStyleLbl="node1" presStyleIdx="2" presStyleCnt="5">
        <dgm:presLayoutVars>
          <dgm:bulletEnabled val="1"/>
        </dgm:presLayoutVars>
      </dgm:prSet>
      <dgm:spPr/>
    </dgm:pt>
    <dgm:pt modelId="{4228E645-AEDD-4716-BF09-478EA7729847}" type="pres">
      <dgm:prSet presAssocID="{81B0F64D-7611-4128-B31A-76113ABCA87D}" presName="nodeFollowingNodes" presStyleLbl="node1" presStyleIdx="3" presStyleCnt="5">
        <dgm:presLayoutVars>
          <dgm:bulletEnabled val="1"/>
        </dgm:presLayoutVars>
      </dgm:prSet>
      <dgm:spPr/>
    </dgm:pt>
    <dgm:pt modelId="{507DCBC7-82B8-4C0B-987B-C02AE47462C0}" type="pres">
      <dgm:prSet presAssocID="{21A7AC1F-DD1A-4581-A349-9F87259DE693}" presName="nodeFollowingNodes" presStyleLbl="node1" presStyleIdx="4" presStyleCnt="5">
        <dgm:presLayoutVars>
          <dgm:bulletEnabled val="1"/>
        </dgm:presLayoutVars>
      </dgm:prSet>
      <dgm:spPr/>
    </dgm:pt>
  </dgm:ptLst>
  <dgm:cxnLst>
    <dgm:cxn modelId="{44277304-25A2-4F35-987A-6FCB09A46365}" type="presOf" srcId="{3273415F-F47C-4720-8107-E5ACCC6B9ED3}" destId="{5EE9948B-93AF-4C4C-A48B-6E56D2066451}" srcOrd="0" destOrd="0" presId="urn:microsoft.com/office/officeart/2005/8/layout/cycle3"/>
    <dgm:cxn modelId="{24CFD104-7296-404C-8B46-23E2D6A8ACFD}" type="presOf" srcId="{A9A9B77C-DEF3-45C7-826B-CB234718410D}" destId="{2C0EE731-38EF-4A26-8215-C8E8481AA6D4}" srcOrd="0" destOrd="0" presId="urn:microsoft.com/office/officeart/2005/8/layout/cycle3"/>
    <dgm:cxn modelId="{3749E641-33D5-48AA-8B5E-321AAF83B061}" type="presOf" srcId="{81B0F64D-7611-4128-B31A-76113ABCA87D}" destId="{4228E645-AEDD-4716-BF09-478EA7729847}" srcOrd="0" destOrd="0" presId="urn:microsoft.com/office/officeart/2005/8/layout/cycle3"/>
    <dgm:cxn modelId="{260C837B-22E8-4A6A-992D-CD09B95256EC}" srcId="{3273415F-F47C-4720-8107-E5ACCC6B9ED3}" destId="{355A8E03-222C-421D-A0BB-6B393581E366}" srcOrd="1" destOrd="0" parTransId="{3CD5545C-C52C-430A-B14B-73EF4F4E21FD}" sibTransId="{600F5F71-D43C-4F3B-8377-AE144CD910A2}"/>
    <dgm:cxn modelId="{8AB62F7D-7CB0-40A3-BBAB-AE9C4E701E74}" srcId="{3273415F-F47C-4720-8107-E5ACCC6B9ED3}" destId="{E62A960B-A5DA-4047-B7F8-43081EF4D81A}" srcOrd="0" destOrd="0" parTransId="{761E5EBB-899A-4001-8CC3-CD97EC7B8A95}" sibTransId="{1D85822C-93C9-4B30-8E64-68664410D0C9}"/>
    <dgm:cxn modelId="{5E166DA9-4869-4000-83A7-16E903D8F070}" srcId="{3273415F-F47C-4720-8107-E5ACCC6B9ED3}" destId="{A9A9B77C-DEF3-45C7-826B-CB234718410D}" srcOrd="2" destOrd="0" parTransId="{EB1CC1AA-45ED-4F34-9359-BFEABE40C0EA}" sibTransId="{7852C6DE-48FA-4104-A22C-5416177BF62F}"/>
    <dgm:cxn modelId="{14CA5BAF-7BA1-4C07-8359-B67835F941F9}" srcId="{3273415F-F47C-4720-8107-E5ACCC6B9ED3}" destId="{81B0F64D-7611-4128-B31A-76113ABCA87D}" srcOrd="3" destOrd="0" parTransId="{DF36DF53-B6CB-4F62-8A73-0C8D2A3D6A40}" sibTransId="{80EE512E-B088-4C4C-912E-360738EE3711}"/>
    <dgm:cxn modelId="{913DB2B1-3408-429F-8516-D3A92257D3A6}" srcId="{3273415F-F47C-4720-8107-E5ACCC6B9ED3}" destId="{21A7AC1F-DD1A-4581-A349-9F87259DE693}" srcOrd="4" destOrd="0" parTransId="{1A8096ED-FC6A-4298-8D45-08651A0320EA}" sibTransId="{4747AD4D-C1CA-4269-9747-E5F4DD6C1577}"/>
    <dgm:cxn modelId="{58FF0FB3-B6F7-438F-BFCD-D373F0C3BC09}" type="presOf" srcId="{21A7AC1F-DD1A-4581-A349-9F87259DE693}" destId="{507DCBC7-82B8-4C0B-987B-C02AE47462C0}" srcOrd="0" destOrd="0" presId="urn:microsoft.com/office/officeart/2005/8/layout/cycle3"/>
    <dgm:cxn modelId="{3462FDB9-27DD-49CD-BF68-8C34F7403080}" type="presOf" srcId="{1D85822C-93C9-4B30-8E64-68664410D0C9}" destId="{06BD67D0-EE29-42CB-BC7F-5D1EBDAB6A02}" srcOrd="0" destOrd="0" presId="urn:microsoft.com/office/officeart/2005/8/layout/cycle3"/>
    <dgm:cxn modelId="{46B896D9-65C5-4227-8E2D-C3CC8D502170}" type="presOf" srcId="{355A8E03-222C-421D-A0BB-6B393581E366}" destId="{3F1202CB-0F5C-4670-81C6-56DC3753814E}" srcOrd="0" destOrd="0" presId="urn:microsoft.com/office/officeart/2005/8/layout/cycle3"/>
    <dgm:cxn modelId="{DFCFADDE-2D06-44CA-A892-CFB33989A75A}" type="presOf" srcId="{E62A960B-A5DA-4047-B7F8-43081EF4D81A}" destId="{1C0E49CC-3723-4DA5-86D6-64D5C358FBA2}" srcOrd="0" destOrd="0" presId="urn:microsoft.com/office/officeart/2005/8/layout/cycle3"/>
    <dgm:cxn modelId="{6D628229-07E9-4A55-881E-20BDF8620004}" type="presParOf" srcId="{5EE9948B-93AF-4C4C-A48B-6E56D2066451}" destId="{3A75D149-7F45-4BAC-B94C-6E1437E7C566}" srcOrd="0" destOrd="0" presId="urn:microsoft.com/office/officeart/2005/8/layout/cycle3"/>
    <dgm:cxn modelId="{396F91B6-49D9-4FC3-8D5A-7644CFBC00AB}" type="presParOf" srcId="{3A75D149-7F45-4BAC-B94C-6E1437E7C566}" destId="{1C0E49CC-3723-4DA5-86D6-64D5C358FBA2}" srcOrd="0" destOrd="0" presId="urn:microsoft.com/office/officeart/2005/8/layout/cycle3"/>
    <dgm:cxn modelId="{5E93CF74-EB7A-4DCE-AED0-57FD676B44CE}" type="presParOf" srcId="{3A75D149-7F45-4BAC-B94C-6E1437E7C566}" destId="{06BD67D0-EE29-42CB-BC7F-5D1EBDAB6A02}" srcOrd="1" destOrd="0" presId="urn:microsoft.com/office/officeart/2005/8/layout/cycle3"/>
    <dgm:cxn modelId="{874375D1-F14F-444F-8EA8-8C31E25EC5A1}" type="presParOf" srcId="{3A75D149-7F45-4BAC-B94C-6E1437E7C566}" destId="{3F1202CB-0F5C-4670-81C6-56DC3753814E}" srcOrd="2" destOrd="0" presId="urn:microsoft.com/office/officeart/2005/8/layout/cycle3"/>
    <dgm:cxn modelId="{898F4EEA-01E9-4E8D-AF80-646043BA60C7}" type="presParOf" srcId="{3A75D149-7F45-4BAC-B94C-6E1437E7C566}" destId="{2C0EE731-38EF-4A26-8215-C8E8481AA6D4}" srcOrd="3" destOrd="0" presId="urn:microsoft.com/office/officeart/2005/8/layout/cycle3"/>
    <dgm:cxn modelId="{6DF62E62-57F4-4A53-895D-AE782E56FCFD}" type="presParOf" srcId="{3A75D149-7F45-4BAC-B94C-6E1437E7C566}" destId="{4228E645-AEDD-4716-BF09-478EA7729847}" srcOrd="4" destOrd="0" presId="urn:microsoft.com/office/officeart/2005/8/layout/cycle3"/>
    <dgm:cxn modelId="{518FDAA9-BF09-4236-AC80-AF5A7F62889A}" type="presParOf" srcId="{3A75D149-7F45-4BAC-B94C-6E1437E7C566}" destId="{507DCBC7-82B8-4C0B-987B-C02AE47462C0}" srcOrd="5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F451D66-375A-49A1-AC70-D4AE2C503A5C}" type="doc">
      <dgm:prSet loTypeId="urn:microsoft.com/office/officeart/2005/8/layout/vList3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4846380-346B-4F1D-9206-BBC93D8CAD62}">
      <dgm:prSet/>
      <dgm:spPr>
        <a:solidFill>
          <a:srgbClr val="073763"/>
        </a:solidFill>
      </dgm:spPr>
      <dgm:t>
        <a:bodyPr/>
        <a:lstStyle/>
        <a:p>
          <a:r>
            <a:rPr lang="en-SG" b="0" i="0">
              <a:latin typeface="Roboto" panose="020B0604020202020204" charset="0"/>
              <a:cs typeface="Roboto" panose="020B0604020202020204" charset="0"/>
            </a:rPr>
            <a:t>Popularity-based</a:t>
          </a:r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305C2E61-407E-4665-BAA3-9EA0087A2D14}" type="parTrans" cxnId="{01A4C0B7-24E2-45EC-AAF8-38D0338A4B4D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32C9100B-A3EB-4EDF-AE31-F89CD8D3EFB1}" type="sibTrans" cxnId="{01A4C0B7-24E2-45EC-AAF8-38D0338A4B4D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BAFA702B-7D29-4105-851B-76A521222424}">
      <dgm:prSet/>
      <dgm:spPr>
        <a:solidFill>
          <a:srgbClr val="073763"/>
        </a:solidFill>
      </dgm:spPr>
      <dgm:t>
        <a:bodyPr/>
        <a:lstStyle/>
        <a:p>
          <a:r>
            <a:rPr lang="en-SG" b="0" i="0">
              <a:latin typeface="Roboto" panose="020B0604020202020204" charset="0"/>
              <a:cs typeface="Roboto" panose="020B0604020202020204" charset="0"/>
            </a:rPr>
            <a:t>Content-based</a:t>
          </a:r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DDA3EEBD-0AAE-41BE-80F5-EDAC96851648}" type="parTrans" cxnId="{8AC24EE4-8312-4FB0-8BCA-59CD658A1051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9918A195-150F-4EAD-B0E6-E805B49FB5F9}" type="sibTrans" cxnId="{8AC24EE4-8312-4FB0-8BCA-59CD658A1051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FF9E2051-E8F7-42A6-AB29-A3DAE318202C}">
      <dgm:prSet/>
      <dgm:spPr>
        <a:solidFill>
          <a:srgbClr val="073763"/>
        </a:solidFill>
      </dgm:spPr>
      <dgm:t>
        <a:bodyPr/>
        <a:lstStyle/>
        <a:p>
          <a:r>
            <a:rPr lang="en-SG" b="0" i="0">
              <a:latin typeface="Roboto" panose="020B0604020202020204" charset="0"/>
              <a:cs typeface="Roboto" panose="020B0604020202020204" charset="0"/>
            </a:rPr>
            <a:t>Collaborative Filtering</a:t>
          </a:r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9C8C333F-DBC8-4B5F-B977-D81851113640}" type="parTrans" cxnId="{76E26A55-15DA-4973-85AB-0330CEA26388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DB00A293-FF0C-4FF6-A3FF-DA0DD37D3C10}" type="sibTrans" cxnId="{76E26A55-15DA-4973-85AB-0330CEA26388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319D2F50-A98D-40F6-A17C-461220D75688}" type="pres">
      <dgm:prSet presAssocID="{1F451D66-375A-49A1-AC70-D4AE2C503A5C}" presName="linearFlow" presStyleCnt="0">
        <dgm:presLayoutVars>
          <dgm:dir/>
          <dgm:resizeHandles val="exact"/>
        </dgm:presLayoutVars>
      </dgm:prSet>
      <dgm:spPr/>
    </dgm:pt>
    <dgm:pt modelId="{D3DF53EE-9496-4B47-8387-C02C4708DA54}" type="pres">
      <dgm:prSet presAssocID="{64846380-346B-4F1D-9206-BBC93D8CAD62}" presName="composite" presStyleCnt="0"/>
      <dgm:spPr/>
    </dgm:pt>
    <dgm:pt modelId="{BF18B080-7EC9-49B1-9BE4-676EE84A9D33}" type="pres">
      <dgm:prSet presAssocID="{64846380-346B-4F1D-9206-BBC93D8CAD62}" presName="imgShp" presStyleLbl="fgImgPlace1" presStyleIdx="0" presStyleCnt="3"/>
      <dgm:spPr>
        <a:solidFill>
          <a:srgbClr val="85200C"/>
        </a:solidFill>
      </dgm:spPr>
    </dgm:pt>
    <dgm:pt modelId="{206952E7-2DB7-4461-99D4-90C8566F9852}" type="pres">
      <dgm:prSet presAssocID="{64846380-346B-4F1D-9206-BBC93D8CAD62}" presName="txShp" presStyleLbl="node1" presStyleIdx="0" presStyleCnt="3">
        <dgm:presLayoutVars>
          <dgm:bulletEnabled val="1"/>
        </dgm:presLayoutVars>
      </dgm:prSet>
      <dgm:spPr/>
    </dgm:pt>
    <dgm:pt modelId="{393E6A9C-EADC-4E4F-A823-14A4C89BAFD6}" type="pres">
      <dgm:prSet presAssocID="{32C9100B-A3EB-4EDF-AE31-F89CD8D3EFB1}" presName="spacing" presStyleCnt="0"/>
      <dgm:spPr/>
    </dgm:pt>
    <dgm:pt modelId="{88860FD5-AA11-42F7-9D08-B1930DB49CD0}" type="pres">
      <dgm:prSet presAssocID="{BAFA702B-7D29-4105-851B-76A521222424}" presName="composite" presStyleCnt="0"/>
      <dgm:spPr/>
    </dgm:pt>
    <dgm:pt modelId="{C0B3F9B3-E6CC-4BC9-AF81-0231FBDFC30E}" type="pres">
      <dgm:prSet presAssocID="{BAFA702B-7D29-4105-851B-76A521222424}" presName="imgShp" presStyleLbl="fgImgPlace1" presStyleIdx="1" presStyleCnt="3"/>
      <dgm:spPr>
        <a:solidFill>
          <a:srgbClr val="85200C"/>
        </a:solidFill>
      </dgm:spPr>
      <dgm:extLst>
        <a:ext uri="{E40237B7-FDA0-4F09-8148-C483321AD2D9}">
          <dgm14:cNvPr xmlns:dgm14="http://schemas.microsoft.com/office/drawing/2010/diagram" id="0" name="" descr="Books"/>
        </a:ext>
      </dgm:extLst>
    </dgm:pt>
    <dgm:pt modelId="{7EEC848F-B3B5-4B86-8A4E-0B8977191B02}" type="pres">
      <dgm:prSet presAssocID="{BAFA702B-7D29-4105-851B-76A521222424}" presName="txShp" presStyleLbl="node1" presStyleIdx="1" presStyleCnt="3">
        <dgm:presLayoutVars>
          <dgm:bulletEnabled val="1"/>
        </dgm:presLayoutVars>
      </dgm:prSet>
      <dgm:spPr/>
    </dgm:pt>
    <dgm:pt modelId="{F76F2627-4C1D-4D4B-B09E-F9054CD3734A}" type="pres">
      <dgm:prSet presAssocID="{9918A195-150F-4EAD-B0E6-E805B49FB5F9}" presName="spacing" presStyleCnt="0"/>
      <dgm:spPr/>
    </dgm:pt>
    <dgm:pt modelId="{C702FB4E-74E3-4FFA-ABD9-4F5BBA728E27}" type="pres">
      <dgm:prSet presAssocID="{FF9E2051-E8F7-42A6-AB29-A3DAE318202C}" presName="composite" presStyleCnt="0"/>
      <dgm:spPr/>
    </dgm:pt>
    <dgm:pt modelId="{00AF60C6-D080-475C-B67F-64DA03C58911}" type="pres">
      <dgm:prSet presAssocID="{FF9E2051-E8F7-42A6-AB29-A3DAE318202C}" presName="imgShp" presStyleLbl="fgImgPlace1" presStyleIdx="2" presStyleCnt="3"/>
      <dgm:spPr>
        <a:solidFill>
          <a:srgbClr val="85200C"/>
        </a:solidFill>
      </dgm:spPr>
    </dgm:pt>
    <dgm:pt modelId="{863DA003-90DE-4516-9BEC-4C8AF9BA23CF}" type="pres">
      <dgm:prSet presAssocID="{FF9E2051-E8F7-42A6-AB29-A3DAE318202C}" presName="txShp" presStyleLbl="node1" presStyleIdx="2" presStyleCnt="3">
        <dgm:presLayoutVars>
          <dgm:bulletEnabled val="1"/>
        </dgm:presLayoutVars>
      </dgm:prSet>
      <dgm:spPr/>
    </dgm:pt>
  </dgm:ptLst>
  <dgm:cxnLst>
    <dgm:cxn modelId="{75518F68-84CA-425F-B369-FB528B8B24B4}" type="presOf" srcId="{FF9E2051-E8F7-42A6-AB29-A3DAE318202C}" destId="{863DA003-90DE-4516-9BEC-4C8AF9BA23CF}" srcOrd="0" destOrd="0" presId="urn:microsoft.com/office/officeart/2005/8/layout/vList3"/>
    <dgm:cxn modelId="{1FE4D150-AEDD-492A-8320-217AAF09A575}" type="presOf" srcId="{64846380-346B-4F1D-9206-BBC93D8CAD62}" destId="{206952E7-2DB7-4461-99D4-90C8566F9852}" srcOrd="0" destOrd="0" presId="urn:microsoft.com/office/officeart/2005/8/layout/vList3"/>
    <dgm:cxn modelId="{76E26A55-15DA-4973-85AB-0330CEA26388}" srcId="{1F451D66-375A-49A1-AC70-D4AE2C503A5C}" destId="{FF9E2051-E8F7-42A6-AB29-A3DAE318202C}" srcOrd="2" destOrd="0" parTransId="{9C8C333F-DBC8-4B5F-B977-D81851113640}" sibTransId="{DB00A293-FF0C-4FF6-A3FF-DA0DD37D3C10}"/>
    <dgm:cxn modelId="{2CCC2B9D-942F-4FF8-B4C7-4A4C6B75C467}" type="presOf" srcId="{1F451D66-375A-49A1-AC70-D4AE2C503A5C}" destId="{319D2F50-A98D-40F6-A17C-461220D75688}" srcOrd="0" destOrd="0" presId="urn:microsoft.com/office/officeart/2005/8/layout/vList3"/>
    <dgm:cxn modelId="{01A4C0B7-24E2-45EC-AAF8-38D0338A4B4D}" srcId="{1F451D66-375A-49A1-AC70-D4AE2C503A5C}" destId="{64846380-346B-4F1D-9206-BBC93D8CAD62}" srcOrd="0" destOrd="0" parTransId="{305C2E61-407E-4665-BAA3-9EA0087A2D14}" sibTransId="{32C9100B-A3EB-4EDF-AE31-F89CD8D3EFB1}"/>
    <dgm:cxn modelId="{55E363BE-32F1-46E7-BF24-03CEFD868616}" type="presOf" srcId="{BAFA702B-7D29-4105-851B-76A521222424}" destId="{7EEC848F-B3B5-4B86-8A4E-0B8977191B02}" srcOrd="0" destOrd="0" presId="urn:microsoft.com/office/officeart/2005/8/layout/vList3"/>
    <dgm:cxn modelId="{8AC24EE4-8312-4FB0-8BCA-59CD658A1051}" srcId="{1F451D66-375A-49A1-AC70-D4AE2C503A5C}" destId="{BAFA702B-7D29-4105-851B-76A521222424}" srcOrd="1" destOrd="0" parTransId="{DDA3EEBD-0AAE-41BE-80F5-EDAC96851648}" sibTransId="{9918A195-150F-4EAD-B0E6-E805B49FB5F9}"/>
    <dgm:cxn modelId="{51B74523-5484-48F5-8073-0A3C000D5AB0}" type="presParOf" srcId="{319D2F50-A98D-40F6-A17C-461220D75688}" destId="{D3DF53EE-9496-4B47-8387-C02C4708DA54}" srcOrd="0" destOrd="0" presId="urn:microsoft.com/office/officeart/2005/8/layout/vList3"/>
    <dgm:cxn modelId="{0D5236DF-426E-462C-8F11-359600B1F0BB}" type="presParOf" srcId="{D3DF53EE-9496-4B47-8387-C02C4708DA54}" destId="{BF18B080-7EC9-49B1-9BE4-676EE84A9D33}" srcOrd="0" destOrd="0" presId="urn:microsoft.com/office/officeart/2005/8/layout/vList3"/>
    <dgm:cxn modelId="{35CDF715-16DA-43C1-A619-B7B49AC50C8A}" type="presParOf" srcId="{D3DF53EE-9496-4B47-8387-C02C4708DA54}" destId="{206952E7-2DB7-4461-99D4-90C8566F9852}" srcOrd="1" destOrd="0" presId="urn:microsoft.com/office/officeart/2005/8/layout/vList3"/>
    <dgm:cxn modelId="{B095ADC5-A98D-466D-A0D4-3E7B86FD09AB}" type="presParOf" srcId="{319D2F50-A98D-40F6-A17C-461220D75688}" destId="{393E6A9C-EADC-4E4F-A823-14A4C89BAFD6}" srcOrd="1" destOrd="0" presId="urn:microsoft.com/office/officeart/2005/8/layout/vList3"/>
    <dgm:cxn modelId="{8E573EE7-52DC-4534-849D-770B8CFCCD1F}" type="presParOf" srcId="{319D2F50-A98D-40F6-A17C-461220D75688}" destId="{88860FD5-AA11-42F7-9D08-B1930DB49CD0}" srcOrd="2" destOrd="0" presId="urn:microsoft.com/office/officeart/2005/8/layout/vList3"/>
    <dgm:cxn modelId="{72A635FB-FF55-4DB9-B1D0-8474D8EC2C57}" type="presParOf" srcId="{88860FD5-AA11-42F7-9D08-B1930DB49CD0}" destId="{C0B3F9B3-E6CC-4BC9-AF81-0231FBDFC30E}" srcOrd="0" destOrd="0" presId="urn:microsoft.com/office/officeart/2005/8/layout/vList3"/>
    <dgm:cxn modelId="{0967F407-2778-4D29-ADFA-190098608447}" type="presParOf" srcId="{88860FD5-AA11-42F7-9D08-B1930DB49CD0}" destId="{7EEC848F-B3B5-4B86-8A4E-0B8977191B02}" srcOrd="1" destOrd="0" presId="urn:microsoft.com/office/officeart/2005/8/layout/vList3"/>
    <dgm:cxn modelId="{E98EEE6E-60CE-45DF-957E-137B711BE89C}" type="presParOf" srcId="{319D2F50-A98D-40F6-A17C-461220D75688}" destId="{F76F2627-4C1D-4D4B-B09E-F9054CD3734A}" srcOrd="3" destOrd="0" presId="urn:microsoft.com/office/officeart/2005/8/layout/vList3"/>
    <dgm:cxn modelId="{936683FB-A77D-4CC2-94F7-A342DD93040F}" type="presParOf" srcId="{319D2F50-A98D-40F6-A17C-461220D75688}" destId="{C702FB4E-74E3-4FFA-ABD9-4F5BBA728E27}" srcOrd="4" destOrd="0" presId="urn:microsoft.com/office/officeart/2005/8/layout/vList3"/>
    <dgm:cxn modelId="{E3C5ADD6-1F29-4F4A-B108-70656CF8935E}" type="presParOf" srcId="{C702FB4E-74E3-4FFA-ABD9-4F5BBA728E27}" destId="{00AF60C6-D080-475C-B67F-64DA03C58911}" srcOrd="0" destOrd="0" presId="urn:microsoft.com/office/officeart/2005/8/layout/vList3"/>
    <dgm:cxn modelId="{69E6DC91-7EE9-4694-8F02-4EBFD0C3A0A0}" type="presParOf" srcId="{C702FB4E-74E3-4FFA-ABD9-4F5BBA728E27}" destId="{863DA003-90DE-4516-9BEC-4C8AF9BA23CF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273415F-F47C-4720-8107-E5ACCC6B9ED3}" type="doc">
      <dgm:prSet loTypeId="urn:microsoft.com/office/officeart/2005/8/layout/cycle3" loCatId="cycle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62A960B-A5DA-4047-B7F8-43081EF4D81A}">
      <dgm:prSet phldrT="[Text]"/>
      <dgm:spPr>
        <a:solidFill>
          <a:srgbClr val="073763"/>
        </a:solidFill>
      </dgm:spPr>
      <dgm:t>
        <a:bodyPr/>
        <a:lstStyle/>
        <a:p>
          <a:r>
            <a:rPr lang="en-US">
              <a:latin typeface="Roboto" panose="020B0604020202020204" charset="0"/>
              <a:cs typeface="Roboto" panose="020B0604020202020204" charset="0"/>
            </a:rPr>
            <a:t>RS is trained on current user preferences</a:t>
          </a:r>
        </a:p>
      </dgm:t>
    </dgm:pt>
    <dgm:pt modelId="{761E5EBB-899A-4001-8CC3-CD97EC7B8A95}" type="parTrans" cxnId="{8AB62F7D-7CB0-40A3-BBAB-AE9C4E701E74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1D85822C-93C9-4B30-8E64-68664410D0C9}" type="sibTrans" cxnId="{8AB62F7D-7CB0-40A3-BBAB-AE9C4E701E74}">
      <dgm:prSet/>
      <dgm:spPr>
        <a:solidFill>
          <a:srgbClr val="85200C"/>
        </a:solidFill>
      </dgm:spPr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355A8E03-222C-421D-A0BB-6B393581E366}">
      <dgm:prSet phldrT="[Text]"/>
      <dgm:spPr>
        <a:solidFill>
          <a:srgbClr val="073763"/>
        </a:solidFill>
      </dgm:spPr>
      <dgm:t>
        <a:bodyPr/>
        <a:lstStyle/>
        <a:p>
          <a:r>
            <a:rPr lang="en-US">
              <a:latin typeface="Roboto" panose="020B0604020202020204" charset="0"/>
              <a:cs typeface="Roboto" panose="020B0604020202020204" charset="0"/>
            </a:rPr>
            <a:t>RS makes content recommendations to users</a:t>
          </a:r>
        </a:p>
      </dgm:t>
    </dgm:pt>
    <dgm:pt modelId="{3CD5545C-C52C-430A-B14B-73EF4F4E21FD}" type="parTrans" cxnId="{260C837B-22E8-4A6A-992D-CD09B95256EC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600F5F71-D43C-4F3B-8377-AE144CD910A2}" type="sibTrans" cxnId="{260C837B-22E8-4A6A-992D-CD09B95256EC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A9A9B77C-DEF3-45C7-826B-CB234718410D}">
      <dgm:prSet phldrT="[Text]"/>
      <dgm:spPr>
        <a:solidFill>
          <a:srgbClr val="073763"/>
        </a:solidFill>
      </dgm:spPr>
      <dgm:t>
        <a:bodyPr/>
        <a:lstStyle/>
        <a:p>
          <a:r>
            <a:rPr lang="en-US">
              <a:latin typeface="Roboto" panose="020B0604020202020204" charset="0"/>
              <a:cs typeface="Roboto" panose="020B0604020202020204" charset="0"/>
            </a:rPr>
            <a:t>Users will each enjoy the content at varying levels</a:t>
          </a:r>
        </a:p>
      </dgm:t>
    </dgm:pt>
    <dgm:pt modelId="{EB1CC1AA-45ED-4F34-9359-BFEABE40C0EA}" type="parTrans" cxnId="{5E166DA9-4869-4000-83A7-16E903D8F070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7852C6DE-48FA-4104-A22C-5416177BF62F}" type="sibTrans" cxnId="{5E166DA9-4869-4000-83A7-16E903D8F070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81B0F64D-7611-4128-B31A-76113ABCA87D}">
      <dgm:prSet phldrT="[Text]"/>
      <dgm:spPr>
        <a:solidFill>
          <a:srgbClr val="073763"/>
        </a:solidFill>
      </dgm:spPr>
      <dgm:t>
        <a:bodyPr/>
        <a:lstStyle/>
        <a:p>
          <a:r>
            <a:rPr lang="en-US">
              <a:latin typeface="Roboto" panose="020B0604020202020204" charset="0"/>
              <a:cs typeface="Roboto" panose="020B0604020202020204" charset="0"/>
            </a:rPr>
            <a:t>Model performance is recorded and analyzed</a:t>
          </a:r>
        </a:p>
      </dgm:t>
    </dgm:pt>
    <dgm:pt modelId="{DF36DF53-B6CB-4F62-8A73-0C8D2A3D6A40}" type="parTrans" cxnId="{14CA5BAF-7BA1-4C07-8359-B67835F941F9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80EE512E-B088-4C4C-912E-360738EE3711}" type="sibTrans" cxnId="{14CA5BAF-7BA1-4C07-8359-B67835F941F9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21A7AC1F-DD1A-4581-A349-9F87259DE693}">
      <dgm:prSet phldrT="[Text]"/>
      <dgm:spPr>
        <a:solidFill>
          <a:srgbClr val="073763"/>
        </a:solidFill>
      </dgm:spPr>
      <dgm:t>
        <a:bodyPr/>
        <a:lstStyle/>
        <a:p>
          <a:r>
            <a:rPr lang="en-US">
              <a:latin typeface="Roboto" panose="020B0604020202020204" charset="0"/>
              <a:cs typeface="Roboto" panose="020B0604020202020204" charset="0"/>
            </a:rPr>
            <a:t>Users preferences are updated based on new data</a:t>
          </a:r>
        </a:p>
      </dgm:t>
    </dgm:pt>
    <dgm:pt modelId="{4747AD4D-C1CA-4269-9747-E5F4DD6C1577}" type="sibTrans" cxnId="{913DB2B1-3408-429F-8516-D3A92257D3A6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1A8096ED-FC6A-4298-8D45-08651A0320EA}" type="parTrans" cxnId="{913DB2B1-3408-429F-8516-D3A92257D3A6}">
      <dgm:prSet/>
      <dgm:spPr/>
      <dgm:t>
        <a:bodyPr/>
        <a:lstStyle/>
        <a:p>
          <a:endParaRPr lang="en-US">
            <a:latin typeface="Roboto" panose="020B0604020202020204" charset="0"/>
            <a:cs typeface="Roboto" panose="020B0604020202020204" charset="0"/>
          </a:endParaRPr>
        </a:p>
      </dgm:t>
    </dgm:pt>
    <dgm:pt modelId="{5EE9948B-93AF-4C4C-A48B-6E56D2066451}" type="pres">
      <dgm:prSet presAssocID="{3273415F-F47C-4720-8107-E5ACCC6B9ED3}" presName="Name0" presStyleCnt="0">
        <dgm:presLayoutVars>
          <dgm:dir/>
          <dgm:resizeHandles val="exact"/>
        </dgm:presLayoutVars>
      </dgm:prSet>
      <dgm:spPr/>
    </dgm:pt>
    <dgm:pt modelId="{3A75D149-7F45-4BAC-B94C-6E1437E7C566}" type="pres">
      <dgm:prSet presAssocID="{3273415F-F47C-4720-8107-E5ACCC6B9ED3}" presName="cycle" presStyleCnt="0"/>
      <dgm:spPr/>
    </dgm:pt>
    <dgm:pt modelId="{1C0E49CC-3723-4DA5-86D6-64D5C358FBA2}" type="pres">
      <dgm:prSet presAssocID="{E62A960B-A5DA-4047-B7F8-43081EF4D81A}" presName="nodeFirstNode" presStyleLbl="node1" presStyleIdx="0" presStyleCnt="5">
        <dgm:presLayoutVars>
          <dgm:bulletEnabled val="1"/>
        </dgm:presLayoutVars>
      </dgm:prSet>
      <dgm:spPr/>
    </dgm:pt>
    <dgm:pt modelId="{06BD67D0-EE29-42CB-BC7F-5D1EBDAB6A02}" type="pres">
      <dgm:prSet presAssocID="{1D85822C-93C9-4B30-8E64-68664410D0C9}" presName="sibTransFirstNode" presStyleLbl="bgShp" presStyleIdx="0" presStyleCnt="1"/>
      <dgm:spPr/>
    </dgm:pt>
    <dgm:pt modelId="{3F1202CB-0F5C-4670-81C6-56DC3753814E}" type="pres">
      <dgm:prSet presAssocID="{355A8E03-222C-421D-A0BB-6B393581E366}" presName="nodeFollowingNodes" presStyleLbl="node1" presStyleIdx="1" presStyleCnt="5">
        <dgm:presLayoutVars>
          <dgm:bulletEnabled val="1"/>
        </dgm:presLayoutVars>
      </dgm:prSet>
      <dgm:spPr/>
    </dgm:pt>
    <dgm:pt modelId="{2C0EE731-38EF-4A26-8215-C8E8481AA6D4}" type="pres">
      <dgm:prSet presAssocID="{A9A9B77C-DEF3-45C7-826B-CB234718410D}" presName="nodeFollowingNodes" presStyleLbl="node1" presStyleIdx="2" presStyleCnt="5">
        <dgm:presLayoutVars>
          <dgm:bulletEnabled val="1"/>
        </dgm:presLayoutVars>
      </dgm:prSet>
      <dgm:spPr/>
    </dgm:pt>
    <dgm:pt modelId="{4228E645-AEDD-4716-BF09-478EA7729847}" type="pres">
      <dgm:prSet presAssocID="{81B0F64D-7611-4128-B31A-76113ABCA87D}" presName="nodeFollowingNodes" presStyleLbl="node1" presStyleIdx="3" presStyleCnt="5">
        <dgm:presLayoutVars>
          <dgm:bulletEnabled val="1"/>
        </dgm:presLayoutVars>
      </dgm:prSet>
      <dgm:spPr/>
    </dgm:pt>
    <dgm:pt modelId="{507DCBC7-82B8-4C0B-987B-C02AE47462C0}" type="pres">
      <dgm:prSet presAssocID="{21A7AC1F-DD1A-4581-A349-9F87259DE693}" presName="nodeFollowingNodes" presStyleLbl="node1" presStyleIdx="4" presStyleCnt="5">
        <dgm:presLayoutVars>
          <dgm:bulletEnabled val="1"/>
        </dgm:presLayoutVars>
      </dgm:prSet>
      <dgm:spPr/>
    </dgm:pt>
  </dgm:ptLst>
  <dgm:cxnLst>
    <dgm:cxn modelId="{44277304-25A2-4F35-987A-6FCB09A46365}" type="presOf" srcId="{3273415F-F47C-4720-8107-E5ACCC6B9ED3}" destId="{5EE9948B-93AF-4C4C-A48B-6E56D2066451}" srcOrd="0" destOrd="0" presId="urn:microsoft.com/office/officeart/2005/8/layout/cycle3"/>
    <dgm:cxn modelId="{24CFD104-7296-404C-8B46-23E2D6A8ACFD}" type="presOf" srcId="{A9A9B77C-DEF3-45C7-826B-CB234718410D}" destId="{2C0EE731-38EF-4A26-8215-C8E8481AA6D4}" srcOrd="0" destOrd="0" presId="urn:microsoft.com/office/officeart/2005/8/layout/cycle3"/>
    <dgm:cxn modelId="{3749E641-33D5-48AA-8B5E-321AAF83B061}" type="presOf" srcId="{81B0F64D-7611-4128-B31A-76113ABCA87D}" destId="{4228E645-AEDD-4716-BF09-478EA7729847}" srcOrd="0" destOrd="0" presId="urn:microsoft.com/office/officeart/2005/8/layout/cycle3"/>
    <dgm:cxn modelId="{260C837B-22E8-4A6A-992D-CD09B95256EC}" srcId="{3273415F-F47C-4720-8107-E5ACCC6B9ED3}" destId="{355A8E03-222C-421D-A0BB-6B393581E366}" srcOrd="1" destOrd="0" parTransId="{3CD5545C-C52C-430A-B14B-73EF4F4E21FD}" sibTransId="{600F5F71-D43C-4F3B-8377-AE144CD910A2}"/>
    <dgm:cxn modelId="{8AB62F7D-7CB0-40A3-BBAB-AE9C4E701E74}" srcId="{3273415F-F47C-4720-8107-E5ACCC6B9ED3}" destId="{E62A960B-A5DA-4047-B7F8-43081EF4D81A}" srcOrd="0" destOrd="0" parTransId="{761E5EBB-899A-4001-8CC3-CD97EC7B8A95}" sibTransId="{1D85822C-93C9-4B30-8E64-68664410D0C9}"/>
    <dgm:cxn modelId="{5E166DA9-4869-4000-83A7-16E903D8F070}" srcId="{3273415F-F47C-4720-8107-E5ACCC6B9ED3}" destId="{A9A9B77C-DEF3-45C7-826B-CB234718410D}" srcOrd="2" destOrd="0" parTransId="{EB1CC1AA-45ED-4F34-9359-BFEABE40C0EA}" sibTransId="{7852C6DE-48FA-4104-A22C-5416177BF62F}"/>
    <dgm:cxn modelId="{14CA5BAF-7BA1-4C07-8359-B67835F941F9}" srcId="{3273415F-F47C-4720-8107-E5ACCC6B9ED3}" destId="{81B0F64D-7611-4128-B31A-76113ABCA87D}" srcOrd="3" destOrd="0" parTransId="{DF36DF53-B6CB-4F62-8A73-0C8D2A3D6A40}" sibTransId="{80EE512E-B088-4C4C-912E-360738EE3711}"/>
    <dgm:cxn modelId="{913DB2B1-3408-429F-8516-D3A92257D3A6}" srcId="{3273415F-F47C-4720-8107-E5ACCC6B9ED3}" destId="{21A7AC1F-DD1A-4581-A349-9F87259DE693}" srcOrd="4" destOrd="0" parTransId="{1A8096ED-FC6A-4298-8D45-08651A0320EA}" sibTransId="{4747AD4D-C1CA-4269-9747-E5F4DD6C1577}"/>
    <dgm:cxn modelId="{58FF0FB3-B6F7-438F-BFCD-D373F0C3BC09}" type="presOf" srcId="{21A7AC1F-DD1A-4581-A349-9F87259DE693}" destId="{507DCBC7-82B8-4C0B-987B-C02AE47462C0}" srcOrd="0" destOrd="0" presId="urn:microsoft.com/office/officeart/2005/8/layout/cycle3"/>
    <dgm:cxn modelId="{3462FDB9-27DD-49CD-BF68-8C34F7403080}" type="presOf" srcId="{1D85822C-93C9-4B30-8E64-68664410D0C9}" destId="{06BD67D0-EE29-42CB-BC7F-5D1EBDAB6A02}" srcOrd="0" destOrd="0" presId="urn:microsoft.com/office/officeart/2005/8/layout/cycle3"/>
    <dgm:cxn modelId="{46B896D9-65C5-4227-8E2D-C3CC8D502170}" type="presOf" srcId="{355A8E03-222C-421D-A0BB-6B393581E366}" destId="{3F1202CB-0F5C-4670-81C6-56DC3753814E}" srcOrd="0" destOrd="0" presId="urn:microsoft.com/office/officeart/2005/8/layout/cycle3"/>
    <dgm:cxn modelId="{DFCFADDE-2D06-44CA-A892-CFB33989A75A}" type="presOf" srcId="{E62A960B-A5DA-4047-B7F8-43081EF4D81A}" destId="{1C0E49CC-3723-4DA5-86D6-64D5C358FBA2}" srcOrd="0" destOrd="0" presId="urn:microsoft.com/office/officeart/2005/8/layout/cycle3"/>
    <dgm:cxn modelId="{6D628229-07E9-4A55-881E-20BDF8620004}" type="presParOf" srcId="{5EE9948B-93AF-4C4C-A48B-6E56D2066451}" destId="{3A75D149-7F45-4BAC-B94C-6E1437E7C566}" srcOrd="0" destOrd="0" presId="urn:microsoft.com/office/officeart/2005/8/layout/cycle3"/>
    <dgm:cxn modelId="{396F91B6-49D9-4FC3-8D5A-7644CFBC00AB}" type="presParOf" srcId="{3A75D149-7F45-4BAC-B94C-6E1437E7C566}" destId="{1C0E49CC-3723-4DA5-86D6-64D5C358FBA2}" srcOrd="0" destOrd="0" presId="urn:microsoft.com/office/officeart/2005/8/layout/cycle3"/>
    <dgm:cxn modelId="{5E93CF74-EB7A-4DCE-AED0-57FD676B44CE}" type="presParOf" srcId="{3A75D149-7F45-4BAC-B94C-6E1437E7C566}" destId="{06BD67D0-EE29-42CB-BC7F-5D1EBDAB6A02}" srcOrd="1" destOrd="0" presId="urn:microsoft.com/office/officeart/2005/8/layout/cycle3"/>
    <dgm:cxn modelId="{874375D1-F14F-444F-8EA8-8C31E25EC5A1}" type="presParOf" srcId="{3A75D149-7F45-4BAC-B94C-6E1437E7C566}" destId="{3F1202CB-0F5C-4670-81C6-56DC3753814E}" srcOrd="2" destOrd="0" presId="urn:microsoft.com/office/officeart/2005/8/layout/cycle3"/>
    <dgm:cxn modelId="{898F4EEA-01E9-4E8D-AF80-646043BA60C7}" type="presParOf" srcId="{3A75D149-7F45-4BAC-B94C-6E1437E7C566}" destId="{2C0EE731-38EF-4A26-8215-C8E8481AA6D4}" srcOrd="3" destOrd="0" presId="urn:microsoft.com/office/officeart/2005/8/layout/cycle3"/>
    <dgm:cxn modelId="{6DF62E62-57F4-4A53-895D-AE782E56FCFD}" type="presParOf" srcId="{3A75D149-7F45-4BAC-B94C-6E1437E7C566}" destId="{4228E645-AEDD-4716-BF09-478EA7729847}" srcOrd="4" destOrd="0" presId="urn:microsoft.com/office/officeart/2005/8/layout/cycle3"/>
    <dgm:cxn modelId="{518FDAA9-BF09-4236-AC80-AF5A7F62889A}" type="presParOf" srcId="{3A75D149-7F45-4BAC-B94C-6E1437E7C566}" destId="{507DCBC7-82B8-4C0B-987B-C02AE47462C0}" srcOrd="5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46E442-D51B-4BBC-B6D7-A2978E87E175}">
      <dsp:nvSpPr>
        <dsp:cNvPr id="0" name=""/>
        <dsp:cNvSpPr/>
      </dsp:nvSpPr>
      <dsp:spPr>
        <a:xfrm>
          <a:off x="639044" y="0"/>
          <a:ext cx="7242510" cy="3845742"/>
        </a:xfrm>
        <a:prstGeom prst="rightArrow">
          <a:avLst/>
        </a:prstGeom>
        <a:solidFill>
          <a:srgbClr val="85200C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315AA98-632D-47A2-AB6B-A17F080C98FA}">
      <dsp:nvSpPr>
        <dsp:cNvPr id="0" name=""/>
        <dsp:cNvSpPr/>
      </dsp:nvSpPr>
      <dsp:spPr>
        <a:xfrm>
          <a:off x="4264" y="1153722"/>
          <a:ext cx="2051101" cy="1538296"/>
        </a:xfrm>
        <a:prstGeom prst="roundRect">
          <a:avLst/>
        </a:prstGeom>
        <a:solidFill>
          <a:srgbClr val="073763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>
              <a:latin typeface="Roboto" panose="020B0604020202020204" charset="0"/>
              <a:cs typeface="Roboto" panose="020B0604020202020204" charset="0"/>
            </a:rPr>
            <a:t>Discuss the </a:t>
          </a:r>
          <a:r>
            <a:rPr lang="en-US" sz="1700" b="1" kern="1200">
              <a:latin typeface="Roboto" panose="020B0604020202020204" charset="0"/>
              <a:cs typeface="Roboto" panose="020B0604020202020204" charset="0"/>
            </a:rPr>
            <a:t>Structure</a:t>
          </a:r>
          <a:r>
            <a:rPr lang="en-US" sz="1700" kern="1200">
              <a:latin typeface="Roboto" panose="020B0604020202020204" charset="0"/>
              <a:cs typeface="Roboto" panose="020B0604020202020204" charset="0"/>
            </a:rPr>
            <a:t> and </a:t>
          </a:r>
          <a:r>
            <a:rPr lang="en-US" sz="1700" b="1" kern="1200">
              <a:latin typeface="Roboto" panose="020B0604020202020204" charset="0"/>
              <a:cs typeface="Roboto" panose="020B0604020202020204" charset="0"/>
            </a:rPr>
            <a:t>Objective</a:t>
          </a:r>
          <a:r>
            <a:rPr lang="en-US" sz="1700" kern="1200">
              <a:latin typeface="Roboto" panose="020B0604020202020204" charset="0"/>
              <a:cs typeface="Roboto" panose="020B0604020202020204" charset="0"/>
            </a:rPr>
            <a:t> of Recommender Systems</a:t>
          </a:r>
        </a:p>
      </dsp:txBody>
      <dsp:txXfrm>
        <a:off x="79357" y="1228815"/>
        <a:ext cx="1900915" cy="1388110"/>
      </dsp:txXfrm>
    </dsp:sp>
    <dsp:sp modelId="{7F1B22FC-1E7D-40A9-B413-81FA8FBC39CA}">
      <dsp:nvSpPr>
        <dsp:cNvPr id="0" name=""/>
        <dsp:cNvSpPr/>
      </dsp:nvSpPr>
      <dsp:spPr>
        <a:xfrm>
          <a:off x="2157920" y="1153722"/>
          <a:ext cx="2051101" cy="1538296"/>
        </a:xfrm>
        <a:prstGeom prst="roundRect">
          <a:avLst/>
        </a:prstGeom>
        <a:solidFill>
          <a:srgbClr val="073763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1700" b="0" i="0" kern="1200">
              <a:latin typeface="Roboto" panose="020B0604020202020204" charset="0"/>
              <a:cs typeface="Roboto" panose="020B0604020202020204" charset="0"/>
            </a:rPr>
            <a:t>Learn about the </a:t>
          </a:r>
          <a:r>
            <a:rPr lang="en-SG" sz="1700" b="1" i="0" kern="1200">
              <a:latin typeface="Roboto" panose="020B0604020202020204" charset="0"/>
              <a:cs typeface="Roboto" panose="020B0604020202020204" charset="0"/>
            </a:rPr>
            <a:t>Three Types</a:t>
          </a:r>
          <a:r>
            <a:rPr lang="en-SG" sz="1700" b="0" i="0" kern="1200">
              <a:latin typeface="Roboto" panose="020B0604020202020204" charset="0"/>
              <a:cs typeface="Roboto" panose="020B0604020202020204" charset="0"/>
            </a:rPr>
            <a:t> of Recommender Systems</a:t>
          </a:r>
          <a:endParaRPr lang="en-US" sz="1700" kern="1200">
            <a:latin typeface="Roboto" panose="020B0604020202020204" charset="0"/>
            <a:cs typeface="Roboto" panose="020B0604020202020204" charset="0"/>
          </a:endParaRPr>
        </a:p>
      </dsp:txBody>
      <dsp:txXfrm>
        <a:off x="2233013" y="1228815"/>
        <a:ext cx="1900915" cy="1388110"/>
      </dsp:txXfrm>
    </dsp:sp>
    <dsp:sp modelId="{E6EC9F6F-9684-486B-875D-F24A51E5B569}">
      <dsp:nvSpPr>
        <dsp:cNvPr id="0" name=""/>
        <dsp:cNvSpPr/>
      </dsp:nvSpPr>
      <dsp:spPr>
        <a:xfrm>
          <a:off x="4311577" y="1153722"/>
          <a:ext cx="2051101" cy="1538296"/>
        </a:xfrm>
        <a:prstGeom prst="roundRect">
          <a:avLst/>
        </a:prstGeom>
        <a:solidFill>
          <a:srgbClr val="073763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1700" b="0" i="0" kern="1200">
              <a:latin typeface="Roboto" panose="020B0604020202020204" charset="0"/>
              <a:cs typeface="Roboto" panose="020B0604020202020204" charset="0"/>
            </a:rPr>
            <a:t>Explore </a:t>
          </a:r>
          <a:r>
            <a:rPr lang="en-SG" sz="1700" b="1" i="0" kern="1200">
              <a:latin typeface="Roboto" panose="020B0604020202020204" charset="0"/>
              <a:cs typeface="Roboto" panose="020B0604020202020204" charset="0"/>
            </a:rPr>
            <a:t>Real-World Applications </a:t>
          </a:r>
          <a:r>
            <a:rPr lang="en-SG" sz="1700" b="0" i="0" kern="1200">
              <a:latin typeface="Roboto" panose="020B0604020202020204" charset="0"/>
              <a:cs typeface="Roboto" panose="020B0604020202020204" charset="0"/>
            </a:rPr>
            <a:t>of Recommender Systems</a:t>
          </a:r>
          <a:endParaRPr lang="en-US" sz="1700" kern="1200">
            <a:latin typeface="Roboto" panose="020B0604020202020204" charset="0"/>
            <a:cs typeface="Roboto" panose="020B0604020202020204" charset="0"/>
          </a:endParaRPr>
        </a:p>
      </dsp:txBody>
      <dsp:txXfrm>
        <a:off x="4386670" y="1228815"/>
        <a:ext cx="1900915" cy="1388110"/>
      </dsp:txXfrm>
    </dsp:sp>
    <dsp:sp modelId="{FDBE8D7E-C9F5-491A-9D41-33E7832526E5}">
      <dsp:nvSpPr>
        <dsp:cNvPr id="0" name=""/>
        <dsp:cNvSpPr/>
      </dsp:nvSpPr>
      <dsp:spPr>
        <a:xfrm>
          <a:off x="6465234" y="1153722"/>
          <a:ext cx="2051101" cy="1538296"/>
        </a:xfrm>
        <a:prstGeom prst="roundRect">
          <a:avLst/>
        </a:prstGeom>
        <a:solidFill>
          <a:srgbClr val="073763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1700" b="1" i="0" kern="1200">
              <a:latin typeface="Roboto" panose="020B0604020202020204" charset="0"/>
              <a:cs typeface="Roboto" panose="020B0604020202020204" charset="0"/>
            </a:rPr>
            <a:t>Program R.S.</a:t>
          </a:r>
          <a:r>
            <a:rPr lang="en-SG" sz="1700" b="0" i="0" kern="1200">
              <a:latin typeface="Roboto" panose="020B0604020202020204" charset="0"/>
              <a:cs typeface="Roboto" panose="020B0604020202020204" charset="0"/>
            </a:rPr>
            <a:t> in Google Collab to Give Movie Recommendations</a:t>
          </a:r>
          <a:endParaRPr lang="en-US" sz="1700" kern="1200">
            <a:latin typeface="Roboto" panose="020B0604020202020204" charset="0"/>
            <a:cs typeface="Roboto" panose="020B0604020202020204" charset="0"/>
          </a:endParaRPr>
        </a:p>
      </dsp:txBody>
      <dsp:txXfrm>
        <a:off x="6540327" y="1228815"/>
        <a:ext cx="1900915" cy="138811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BD67D0-EE29-42CB-BC7F-5D1EBDAB6A02}">
      <dsp:nvSpPr>
        <dsp:cNvPr id="0" name=""/>
        <dsp:cNvSpPr/>
      </dsp:nvSpPr>
      <dsp:spPr>
        <a:xfrm>
          <a:off x="762870" y="-17867"/>
          <a:ext cx="3424426" cy="3424426"/>
        </a:xfrm>
        <a:prstGeom prst="circularArrow">
          <a:avLst>
            <a:gd name="adj1" fmla="val 5544"/>
            <a:gd name="adj2" fmla="val 330680"/>
            <a:gd name="adj3" fmla="val 13857264"/>
            <a:gd name="adj4" fmla="val 17336658"/>
            <a:gd name="adj5" fmla="val 5757"/>
          </a:avLst>
        </a:prstGeom>
        <a:solidFill>
          <a:srgbClr val="85200C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C0E49CC-3723-4DA5-86D6-64D5C358FBA2}">
      <dsp:nvSpPr>
        <dsp:cNvPr id="0" name=""/>
        <dsp:cNvSpPr/>
      </dsp:nvSpPr>
      <dsp:spPr>
        <a:xfrm>
          <a:off x="1701619" y="605"/>
          <a:ext cx="1546927" cy="773463"/>
        </a:xfrm>
        <a:prstGeom prst="roundRect">
          <a:avLst/>
        </a:prstGeom>
        <a:solidFill>
          <a:srgbClr val="073763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latin typeface="Roboto" panose="020B0604020202020204" charset="0"/>
              <a:cs typeface="Roboto" panose="020B0604020202020204" charset="0"/>
            </a:rPr>
            <a:t>RS is trained on current user preferences</a:t>
          </a:r>
        </a:p>
      </dsp:txBody>
      <dsp:txXfrm>
        <a:off x="1739376" y="38362"/>
        <a:ext cx="1471413" cy="697949"/>
      </dsp:txXfrm>
    </dsp:sp>
    <dsp:sp modelId="{3F1202CB-0F5C-4670-81C6-56DC3753814E}">
      <dsp:nvSpPr>
        <dsp:cNvPr id="0" name=""/>
        <dsp:cNvSpPr/>
      </dsp:nvSpPr>
      <dsp:spPr>
        <a:xfrm>
          <a:off x="3090457" y="1009654"/>
          <a:ext cx="1546927" cy="773463"/>
        </a:xfrm>
        <a:prstGeom prst="roundRect">
          <a:avLst/>
        </a:prstGeom>
        <a:solidFill>
          <a:srgbClr val="073763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latin typeface="Roboto" panose="020B0604020202020204" charset="0"/>
              <a:cs typeface="Roboto" panose="020B0604020202020204" charset="0"/>
            </a:rPr>
            <a:t>RS makes content recommendations to users</a:t>
          </a:r>
        </a:p>
      </dsp:txBody>
      <dsp:txXfrm>
        <a:off x="3128214" y="1047411"/>
        <a:ext cx="1471413" cy="697949"/>
      </dsp:txXfrm>
    </dsp:sp>
    <dsp:sp modelId="{2C0EE731-38EF-4A26-8215-C8E8481AA6D4}">
      <dsp:nvSpPr>
        <dsp:cNvPr id="0" name=""/>
        <dsp:cNvSpPr/>
      </dsp:nvSpPr>
      <dsp:spPr>
        <a:xfrm>
          <a:off x="2559968" y="2642330"/>
          <a:ext cx="1546927" cy="773463"/>
        </a:xfrm>
        <a:prstGeom prst="roundRect">
          <a:avLst/>
        </a:prstGeom>
        <a:solidFill>
          <a:srgbClr val="073763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latin typeface="Roboto" panose="020B0604020202020204" charset="0"/>
              <a:cs typeface="Roboto" panose="020B0604020202020204" charset="0"/>
            </a:rPr>
            <a:t>Users will each enjoy the content at varying levels</a:t>
          </a:r>
        </a:p>
      </dsp:txBody>
      <dsp:txXfrm>
        <a:off x="2597725" y="2680087"/>
        <a:ext cx="1471413" cy="697949"/>
      </dsp:txXfrm>
    </dsp:sp>
    <dsp:sp modelId="{4228E645-AEDD-4716-BF09-478EA7729847}">
      <dsp:nvSpPr>
        <dsp:cNvPr id="0" name=""/>
        <dsp:cNvSpPr/>
      </dsp:nvSpPr>
      <dsp:spPr>
        <a:xfrm>
          <a:off x="843271" y="2642330"/>
          <a:ext cx="1546927" cy="773463"/>
        </a:xfrm>
        <a:prstGeom prst="roundRect">
          <a:avLst/>
        </a:prstGeom>
        <a:solidFill>
          <a:srgbClr val="073763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latin typeface="Roboto" panose="020B0604020202020204" charset="0"/>
              <a:cs typeface="Roboto" panose="020B0604020202020204" charset="0"/>
            </a:rPr>
            <a:t>Model performance is recorded and analyzed</a:t>
          </a:r>
        </a:p>
      </dsp:txBody>
      <dsp:txXfrm>
        <a:off x="881028" y="2680087"/>
        <a:ext cx="1471413" cy="697949"/>
      </dsp:txXfrm>
    </dsp:sp>
    <dsp:sp modelId="{507DCBC7-82B8-4C0B-987B-C02AE47462C0}">
      <dsp:nvSpPr>
        <dsp:cNvPr id="0" name=""/>
        <dsp:cNvSpPr/>
      </dsp:nvSpPr>
      <dsp:spPr>
        <a:xfrm>
          <a:off x="312782" y="1009654"/>
          <a:ext cx="1546927" cy="773463"/>
        </a:xfrm>
        <a:prstGeom prst="roundRect">
          <a:avLst/>
        </a:prstGeom>
        <a:solidFill>
          <a:srgbClr val="073763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latin typeface="Roboto" panose="020B0604020202020204" charset="0"/>
              <a:cs typeface="Roboto" panose="020B0604020202020204" charset="0"/>
            </a:rPr>
            <a:t>Users preferences are updated based on new data</a:t>
          </a:r>
        </a:p>
      </dsp:txBody>
      <dsp:txXfrm>
        <a:off x="350539" y="1047411"/>
        <a:ext cx="1471413" cy="69794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6952E7-2DB7-4461-99D4-90C8566F9852}">
      <dsp:nvSpPr>
        <dsp:cNvPr id="0" name=""/>
        <dsp:cNvSpPr/>
      </dsp:nvSpPr>
      <dsp:spPr>
        <a:xfrm rot="10800000">
          <a:off x="1664486" y="1157"/>
          <a:ext cx="5666199" cy="949144"/>
        </a:xfrm>
        <a:prstGeom prst="homePlate">
          <a:avLst/>
        </a:prstGeom>
        <a:solidFill>
          <a:srgbClr val="073763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18546" tIns="156210" rIns="291592" bIns="156210" numCol="1" spcCol="1270" anchor="ctr" anchorCtr="0">
          <a:noAutofit/>
        </a:bodyPr>
        <a:lstStyle/>
        <a:p>
          <a:pPr marL="0" lvl="0" indent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4100" b="0" i="0" kern="1200">
              <a:latin typeface="Roboto" panose="020B0604020202020204" charset="0"/>
              <a:cs typeface="Roboto" panose="020B0604020202020204" charset="0"/>
            </a:rPr>
            <a:t>Popularity-based</a:t>
          </a:r>
          <a:endParaRPr lang="en-US" sz="4100" kern="1200">
            <a:latin typeface="Roboto" panose="020B0604020202020204" charset="0"/>
            <a:cs typeface="Roboto" panose="020B0604020202020204" charset="0"/>
          </a:endParaRPr>
        </a:p>
      </dsp:txBody>
      <dsp:txXfrm rot="10800000">
        <a:off x="1901772" y="1157"/>
        <a:ext cx="5428913" cy="949144"/>
      </dsp:txXfrm>
    </dsp:sp>
    <dsp:sp modelId="{BF18B080-7EC9-49B1-9BE4-676EE84A9D33}">
      <dsp:nvSpPr>
        <dsp:cNvPr id="0" name=""/>
        <dsp:cNvSpPr/>
      </dsp:nvSpPr>
      <dsp:spPr>
        <a:xfrm>
          <a:off x="1189914" y="1157"/>
          <a:ext cx="949144" cy="949144"/>
        </a:xfrm>
        <a:prstGeom prst="ellipse">
          <a:avLst/>
        </a:prstGeom>
        <a:solidFill>
          <a:srgbClr val="85200C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7EEC848F-B3B5-4B86-8A4E-0B8977191B02}">
      <dsp:nvSpPr>
        <dsp:cNvPr id="0" name=""/>
        <dsp:cNvSpPr/>
      </dsp:nvSpPr>
      <dsp:spPr>
        <a:xfrm rot="10800000">
          <a:off x="1664486" y="1233627"/>
          <a:ext cx="5666199" cy="949144"/>
        </a:xfrm>
        <a:prstGeom prst="homePlate">
          <a:avLst/>
        </a:prstGeom>
        <a:solidFill>
          <a:srgbClr val="073763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18546" tIns="156210" rIns="291592" bIns="156210" numCol="1" spcCol="1270" anchor="ctr" anchorCtr="0">
          <a:noAutofit/>
        </a:bodyPr>
        <a:lstStyle/>
        <a:p>
          <a:pPr marL="0" lvl="0" indent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4100" b="0" i="0" kern="1200">
              <a:latin typeface="Roboto" panose="020B0604020202020204" charset="0"/>
              <a:cs typeface="Roboto" panose="020B0604020202020204" charset="0"/>
            </a:rPr>
            <a:t>Content-based</a:t>
          </a:r>
          <a:endParaRPr lang="en-US" sz="4100" kern="1200">
            <a:latin typeface="Roboto" panose="020B0604020202020204" charset="0"/>
            <a:cs typeface="Roboto" panose="020B0604020202020204" charset="0"/>
          </a:endParaRPr>
        </a:p>
      </dsp:txBody>
      <dsp:txXfrm rot="10800000">
        <a:off x="1901772" y="1233627"/>
        <a:ext cx="5428913" cy="949144"/>
      </dsp:txXfrm>
    </dsp:sp>
    <dsp:sp modelId="{C0B3F9B3-E6CC-4BC9-AF81-0231FBDFC30E}">
      <dsp:nvSpPr>
        <dsp:cNvPr id="0" name=""/>
        <dsp:cNvSpPr/>
      </dsp:nvSpPr>
      <dsp:spPr>
        <a:xfrm>
          <a:off x="1189914" y="1233627"/>
          <a:ext cx="949144" cy="949144"/>
        </a:xfrm>
        <a:prstGeom prst="ellipse">
          <a:avLst/>
        </a:prstGeom>
        <a:solidFill>
          <a:srgbClr val="85200C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63DA003-90DE-4516-9BEC-4C8AF9BA23CF}">
      <dsp:nvSpPr>
        <dsp:cNvPr id="0" name=""/>
        <dsp:cNvSpPr/>
      </dsp:nvSpPr>
      <dsp:spPr>
        <a:xfrm rot="10800000">
          <a:off x="1664486" y="2466098"/>
          <a:ext cx="5666199" cy="949144"/>
        </a:xfrm>
        <a:prstGeom prst="homePlate">
          <a:avLst/>
        </a:prstGeom>
        <a:solidFill>
          <a:srgbClr val="073763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18546" tIns="156210" rIns="291592" bIns="156210" numCol="1" spcCol="1270" anchor="ctr" anchorCtr="0">
          <a:noAutofit/>
        </a:bodyPr>
        <a:lstStyle/>
        <a:p>
          <a:pPr marL="0" lvl="0" indent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4100" b="0" i="0" kern="1200">
              <a:latin typeface="Roboto" panose="020B0604020202020204" charset="0"/>
              <a:cs typeface="Roboto" panose="020B0604020202020204" charset="0"/>
            </a:rPr>
            <a:t>Collaborative Filtering</a:t>
          </a:r>
          <a:endParaRPr lang="en-US" sz="4100" kern="1200">
            <a:latin typeface="Roboto" panose="020B0604020202020204" charset="0"/>
            <a:cs typeface="Roboto" panose="020B0604020202020204" charset="0"/>
          </a:endParaRPr>
        </a:p>
      </dsp:txBody>
      <dsp:txXfrm rot="10800000">
        <a:off x="1901772" y="2466098"/>
        <a:ext cx="5428913" cy="949144"/>
      </dsp:txXfrm>
    </dsp:sp>
    <dsp:sp modelId="{00AF60C6-D080-475C-B67F-64DA03C58911}">
      <dsp:nvSpPr>
        <dsp:cNvPr id="0" name=""/>
        <dsp:cNvSpPr/>
      </dsp:nvSpPr>
      <dsp:spPr>
        <a:xfrm>
          <a:off x="1189914" y="2466098"/>
          <a:ext cx="949144" cy="949144"/>
        </a:xfrm>
        <a:prstGeom prst="ellipse">
          <a:avLst/>
        </a:prstGeom>
        <a:solidFill>
          <a:srgbClr val="85200C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BD67D0-EE29-42CB-BC7F-5D1EBDAB6A02}">
      <dsp:nvSpPr>
        <dsp:cNvPr id="0" name=""/>
        <dsp:cNvSpPr/>
      </dsp:nvSpPr>
      <dsp:spPr>
        <a:xfrm>
          <a:off x="762870" y="-17867"/>
          <a:ext cx="3424426" cy="3424426"/>
        </a:xfrm>
        <a:prstGeom prst="circularArrow">
          <a:avLst>
            <a:gd name="adj1" fmla="val 5544"/>
            <a:gd name="adj2" fmla="val 330680"/>
            <a:gd name="adj3" fmla="val 13857264"/>
            <a:gd name="adj4" fmla="val 17336658"/>
            <a:gd name="adj5" fmla="val 5757"/>
          </a:avLst>
        </a:prstGeom>
        <a:solidFill>
          <a:srgbClr val="85200C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C0E49CC-3723-4DA5-86D6-64D5C358FBA2}">
      <dsp:nvSpPr>
        <dsp:cNvPr id="0" name=""/>
        <dsp:cNvSpPr/>
      </dsp:nvSpPr>
      <dsp:spPr>
        <a:xfrm>
          <a:off x="1701619" y="605"/>
          <a:ext cx="1546927" cy="773463"/>
        </a:xfrm>
        <a:prstGeom prst="roundRect">
          <a:avLst/>
        </a:prstGeom>
        <a:solidFill>
          <a:srgbClr val="073763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latin typeface="Roboto" panose="020B0604020202020204" charset="0"/>
              <a:cs typeface="Roboto" panose="020B0604020202020204" charset="0"/>
            </a:rPr>
            <a:t>RS is trained on current user preferences</a:t>
          </a:r>
        </a:p>
      </dsp:txBody>
      <dsp:txXfrm>
        <a:off x="1739376" y="38362"/>
        <a:ext cx="1471413" cy="697949"/>
      </dsp:txXfrm>
    </dsp:sp>
    <dsp:sp modelId="{3F1202CB-0F5C-4670-81C6-56DC3753814E}">
      <dsp:nvSpPr>
        <dsp:cNvPr id="0" name=""/>
        <dsp:cNvSpPr/>
      </dsp:nvSpPr>
      <dsp:spPr>
        <a:xfrm>
          <a:off x="3090457" y="1009654"/>
          <a:ext cx="1546927" cy="773463"/>
        </a:xfrm>
        <a:prstGeom prst="roundRect">
          <a:avLst/>
        </a:prstGeom>
        <a:solidFill>
          <a:srgbClr val="073763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latin typeface="Roboto" panose="020B0604020202020204" charset="0"/>
              <a:cs typeface="Roboto" panose="020B0604020202020204" charset="0"/>
            </a:rPr>
            <a:t>RS makes content recommendations to users</a:t>
          </a:r>
        </a:p>
      </dsp:txBody>
      <dsp:txXfrm>
        <a:off x="3128214" y="1047411"/>
        <a:ext cx="1471413" cy="697949"/>
      </dsp:txXfrm>
    </dsp:sp>
    <dsp:sp modelId="{2C0EE731-38EF-4A26-8215-C8E8481AA6D4}">
      <dsp:nvSpPr>
        <dsp:cNvPr id="0" name=""/>
        <dsp:cNvSpPr/>
      </dsp:nvSpPr>
      <dsp:spPr>
        <a:xfrm>
          <a:off x="2559968" y="2642330"/>
          <a:ext cx="1546927" cy="773463"/>
        </a:xfrm>
        <a:prstGeom prst="roundRect">
          <a:avLst/>
        </a:prstGeom>
        <a:solidFill>
          <a:srgbClr val="073763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latin typeface="Roboto" panose="020B0604020202020204" charset="0"/>
              <a:cs typeface="Roboto" panose="020B0604020202020204" charset="0"/>
            </a:rPr>
            <a:t>Users will each enjoy the content at varying levels</a:t>
          </a:r>
        </a:p>
      </dsp:txBody>
      <dsp:txXfrm>
        <a:off x="2597725" y="2680087"/>
        <a:ext cx="1471413" cy="697949"/>
      </dsp:txXfrm>
    </dsp:sp>
    <dsp:sp modelId="{4228E645-AEDD-4716-BF09-478EA7729847}">
      <dsp:nvSpPr>
        <dsp:cNvPr id="0" name=""/>
        <dsp:cNvSpPr/>
      </dsp:nvSpPr>
      <dsp:spPr>
        <a:xfrm>
          <a:off x="843271" y="2642330"/>
          <a:ext cx="1546927" cy="773463"/>
        </a:xfrm>
        <a:prstGeom prst="roundRect">
          <a:avLst/>
        </a:prstGeom>
        <a:solidFill>
          <a:srgbClr val="073763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latin typeface="Roboto" panose="020B0604020202020204" charset="0"/>
              <a:cs typeface="Roboto" panose="020B0604020202020204" charset="0"/>
            </a:rPr>
            <a:t>Model performance is recorded and analyzed</a:t>
          </a:r>
        </a:p>
      </dsp:txBody>
      <dsp:txXfrm>
        <a:off x="881028" y="2680087"/>
        <a:ext cx="1471413" cy="697949"/>
      </dsp:txXfrm>
    </dsp:sp>
    <dsp:sp modelId="{507DCBC7-82B8-4C0B-987B-C02AE47462C0}">
      <dsp:nvSpPr>
        <dsp:cNvPr id="0" name=""/>
        <dsp:cNvSpPr/>
      </dsp:nvSpPr>
      <dsp:spPr>
        <a:xfrm>
          <a:off x="312782" y="1009654"/>
          <a:ext cx="1546927" cy="773463"/>
        </a:xfrm>
        <a:prstGeom prst="roundRect">
          <a:avLst/>
        </a:prstGeom>
        <a:solidFill>
          <a:srgbClr val="073763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latin typeface="Roboto" panose="020B0604020202020204" charset="0"/>
              <a:cs typeface="Roboto" panose="020B0604020202020204" charset="0"/>
            </a:rPr>
            <a:t>Users preferences are updated based on new data</a:t>
          </a:r>
        </a:p>
      </dsp:txBody>
      <dsp:txXfrm>
        <a:off x="350539" y="1047411"/>
        <a:ext cx="1471413" cy="69794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g913752140f_0_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5" name="Google Shape;75;g913752140f_0_4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503367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g913752140f_0_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5" name="Google Shape;75;g913752140f_0_4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467404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g913752140f_0_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5" name="Google Shape;75;g913752140f_0_4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066600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g913752140f_0_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5" name="Google Shape;75;g913752140f_0_4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513166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g913752140f_0_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5" name="Google Shape;75;g913752140f_0_4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713079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g913752140f_0_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5" name="Google Shape;75;g913752140f_0_4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315064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g913752140f_0_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5" name="Google Shape;75;g913752140f_0_4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1347036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913752140f_0_2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913752140f_0_2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g913752140f_0_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5" name="Google Shape;75;g913752140f_0_4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322309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g913752140f_0_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5" name="Google Shape;75;g913752140f_0_4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Presenters should drop link in Zoom chat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6178883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g913752140f_0_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5" name="Google Shape;75;g913752140f_0_4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226423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g913752140f_0_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5" name="Google Shape;75;g913752140f_0_4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348665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g913752140f_0_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5" name="Google Shape;75;g913752140f_0_4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>
              <a:buNone/>
            </a:pPr>
            <a:r>
              <a:rPr lang="en-US"/>
              <a:t>Michael Starts Here</a:t>
            </a:r>
          </a:p>
        </p:txBody>
      </p:sp>
    </p:spTree>
    <p:extLst>
      <p:ext uri="{BB962C8B-B14F-4D97-AF65-F5344CB8AC3E}">
        <p14:creationId xmlns:p14="http://schemas.microsoft.com/office/powerpoint/2010/main" val="2799916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g913752140f_0_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5" name="Google Shape;75;g913752140f_0_4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459835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g913752140f_0_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5" name="Google Shape;75;g913752140f_0_4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495812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g913752140f_0_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5" name="Google Shape;75;g913752140f_0_4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898724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g913752140f_0_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5" name="Google Shape;75;g913752140f_0_4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20335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65C10E0-B477-48B1-87EC-0CCC1B6FE4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72180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5" imgW="262" imgH="262" progId="TCLayout.ActiveDocument.1">
                  <p:embed/>
                </p:oleObj>
              </mc:Choice>
              <mc:Fallback>
                <p:oleObj name="think-cell Slide" r:id="rId15" imgW="262" imgH="26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65C10E0-B477-48B1-87EC-0CCC1B6FE4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10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9.png"/><Relationship Id="rId4" Type="http://schemas.openxmlformats.org/officeDocument/2006/relationships/hyperlink" Target="https://aws.amazon.com/personalize/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medium.com/search?q=recommender" TargetMode="External"/><Relationship Id="rId5" Type="http://schemas.openxmlformats.org/officeDocument/2006/relationships/hyperlink" Target="https://towardsdatascience.com/search?q=recommender/" TargetMode="External"/><Relationship Id="rId4" Type="http://schemas.openxmlformats.org/officeDocument/2006/relationships/hyperlink" Target="https://www.kaggle.com/search?q=recommender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1.png"/><Relationship Id="rId4" Type="http://schemas.openxmlformats.org/officeDocument/2006/relationships/hyperlink" Target="https://colab.research.google.com/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3.png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forms.gle/PsBLF5cApFisAv4g8" TargetMode="External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3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3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image" Target="../media/image5.png"/><Relationship Id="rId18" Type="http://schemas.openxmlformats.org/officeDocument/2006/relationships/image" Target="../media/image10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12" Type="http://schemas.microsoft.com/office/2007/relationships/diagramDrawing" Target="../diagrams/drawing3.xml"/><Relationship Id="rId17" Type="http://schemas.openxmlformats.org/officeDocument/2006/relationships/image" Target="../media/image9.png"/><Relationship Id="rId2" Type="http://schemas.openxmlformats.org/officeDocument/2006/relationships/tags" Target="../tags/tag4.xml"/><Relationship Id="rId16" Type="http://schemas.openxmlformats.org/officeDocument/2006/relationships/image" Target="../media/image8.svg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diagramColors" Target="../diagrams/colors3.xml"/><Relationship Id="rId5" Type="http://schemas.openxmlformats.org/officeDocument/2006/relationships/oleObject" Target="../embeddings/oleObject3.bin"/><Relationship Id="rId15" Type="http://schemas.openxmlformats.org/officeDocument/2006/relationships/image" Target="../media/image7.png"/><Relationship Id="rId10" Type="http://schemas.openxmlformats.org/officeDocument/2006/relationships/diagramQuickStyle" Target="../diagrams/quickStyle3.xml"/><Relationship Id="rId4" Type="http://schemas.openxmlformats.org/officeDocument/2006/relationships/notesSlide" Target="../notesSlides/notesSlide5.xml"/><Relationship Id="rId9" Type="http://schemas.openxmlformats.org/officeDocument/2006/relationships/diagramLayout" Target="../diagrams/layout3.xml"/><Relationship Id="rId14" Type="http://schemas.openxmlformats.org/officeDocument/2006/relationships/image" Target="../media/image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Google Shape;54;p13"/>
          <p:cNvPicPr preferRelativeResize="0"/>
          <p:nvPr/>
        </p:nvPicPr>
        <p:blipFill>
          <a:blip r:embed="rId4">
            <a:alphaModFix amt="48000"/>
          </a:blip>
          <a:stretch>
            <a:fillRect/>
          </a:stretch>
        </p:blipFill>
        <p:spPr>
          <a:xfrm rot="-5400000">
            <a:off x="2029525" y="-1878250"/>
            <a:ext cx="5701050" cy="8049399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3"/>
          <p:cNvSpPr txBox="1"/>
          <p:nvPr/>
        </p:nvSpPr>
        <p:spPr>
          <a:xfrm>
            <a:off x="757675" y="2868650"/>
            <a:ext cx="4113000" cy="6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 i="1">
                <a:solidFill>
                  <a:srgbClr val="999999"/>
                </a:solidFill>
                <a:latin typeface="Roboto"/>
                <a:ea typeface="Roboto"/>
                <a:cs typeface="Roboto"/>
                <a:sym typeface="Roboto"/>
              </a:rPr>
              <a:t>Presented by AI@Penn</a:t>
            </a:r>
            <a:endParaRPr sz="2200" i="1">
              <a:solidFill>
                <a:srgbClr val="999999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6" name="Google Shape;56;p13"/>
          <p:cNvSpPr txBox="1"/>
          <p:nvPr/>
        </p:nvSpPr>
        <p:spPr>
          <a:xfrm>
            <a:off x="717575" y="1376050"/>
            <a:ext cx="8375270" cy="154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" sz="5000">
                <a:solidFill>
                  <a:schemeClr val="lt1"/>
                </a:solidFill>
                <a:latin typeface="Proxima Nova"/>
                <a:ea typeface="Proxima Nova"/>
                <a:cs typeface="Proxima Nova"/>
              </a:rPr>
              <a:t>AI Hacks Datathon Workshop</a:t>
            </a:r>
            <a:br>
              <a:rPr lang="en" sz="5000">
                <a:latin typeface="Proxima Nova"/>
                <a:ea typeface="Proxima Nova"/>
                <a:cs typeface="Proxima Nova"/>
              </a:rPr>
            </a:br>
            <a:r>
              <a:rPr lang="en" sz="2700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rPr>
              <a:t>December, 2020</a:t>
            </a:r>
            <a:endParaRPr sz="2700">
              <a:solidFill>
                <a:schemeClr val="lt1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57" name="Google Shape;57;p13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3593656" y="2749595"/>
            <a:ext cx="799486" cy="822979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Google Shape;77;p16"/>
          <p:cNvPicPr preferRelativeResize="0"/>
          <p:nvPr/>
        </p:nvPicPr>
        <p:blipFill>
          <a:blip r:embed="rId3">
            <a:alphaModFix amt="21000"/>
          </a:blip>
          <a:stretch>
            <a:fillRect/>
          </a:stretch>
        </p:blipFill>
        <p:spPr>
          <a:xfrm rot="5400000">
            <a:off x="1125174" y="-682800"/>
            <a:ext cx="5827776" cy="7193376"/>
          </a:xfrm>
          <a:prstGeom prst="rect">
            <a:avLst/>
          </a:prstGeom>
          <a:noFill/>
          <a:ln>
            <a:noFill/>
          </a:ln>
        </p:spPr>
      </p:pic>
      <p:sp>
        <p:nvSpPr>
          <p:cNvPr id="78" name="Google Shape;78;p16"/>
          <p:cNvSpPr txBox="1">
            <a:spLocks noGrp="1"/>
          </p:cNvSpPr>
          <p:nvPr>
            <p:ph type="body" idx="1"/>
          </p:nvPr>
        </p:nvSpPr>
        <p:spPr>
          <a:xfrm>
            <a:off x="311700" y="1304875"/>
            <a:ext cx="8520600" cy="3416400"/>
          </a:xfrm>
          <a:prstGeom prst="rect">
            <a:avLst/>
          </a:prstGeom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>
              <a:lnSpc>
                <a:spcPct val="100000"/>
              </a:lnSpc>
              <a:spcAft>
                <a:spcPts val="600"/>
              </a:spcAft>
            </a:pPr>
            <a:r>
              <a:rPr lang="en-SG">
                <a:latin typeface="Roboto" panose="020B0604020202020204" charset="0"/>
                <a:cs typeface="Roboto" panose="020B0604020202020204" charset="0"/>
              </a:rPr>
              <a:t>Based on low-dimensional models revolving around </a:t>
            </a:r>
            <a:r>
              <a:rPr lang="en-SG" b="1">
                <a:latin typeface="Roboto" panose="020B0604020202020204" charset="0"/>
                <a:cs typeface="Roboto" panose="020B0604020202020204" charset="0"/>
              </a:rPr>
              <a:t>matrix factorization</a:t>
            </a:r>
            <a:endParaRPr lang="en-US" b="1">
              <a:latin typeface="Roboto" panose="020B0604020202020204" charset="0"/>
              <a:cs typeface="Roboto" panose="020B0604020202020204" charset="0"/>
            </a:endParaRPr>
          </a:p>
          <a:p>
            <a:pPr marL="285750" indent="-285750">
              <a:lnSpc>
                <a:spcPct val="100000"/>
              </a:lnSpc>
            </a:pPr>
            <a:r>
              <a:rPr lang="en-SG">
                <a:latin typeface="Roboto" panose="020B0604020202020204" charset="0"/>
                <a:cs typeface="Roboto" panose="020B0604020202020204" charset="0"/>
              </a:rPr>
              <a:t>Memory-Based CF can be divided into two types: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</a:pPr>
            <a:r>
              <a:rPr lang="en-SG" sz="1800" b="1">
                <a:latin typeface="Roboto" panose="020B0604020202020204" charset="0"/>
                <a:cs typeface="Roboto" panose="020B0604020202020204" charset="0"/>
              </a:rPr>
              <a:t>User-Item</a:t>
            </a:r>
            <a:r>
              <a:rPr lang="en-SG" sz="1800">
                <a:latin typeface="Roboto" panose="020B0604020202020204" charset="0"/>
                <a:cs typeface="Roboto" panose="020B0604020202020204" charset="0"/>
              </a:rPr>
              <a:t> filtering – takes a given users, finds similar users, and recommends items that those similar users liked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SG" sz="1800" b="1">
                <a:latin typeface="Roboto" panose="020B0604020202020204" charset="0"/>
                <a:cs typeface="Roboto" panose="020B0604020202020204" charset="0"/>
              </a:rPr>
              <a:t>Item-Item</a:t>
            </a:r>
            <a:r>
              <a:rPr lang="en-SG" sz="1800">
                <a:latin typeface="Roboto" panose="020B0604020202020204" charset="0"/>
                <a:cs typeface="Roboto" panose="020B0604020202020204" charset="0"/>
              </a:rPr>
              <a:t> filtering – takes an item, find users who liked that item, and finds other items that those users or similar users also liked</a:t>
            </a:r>
          </a:p>
          <a:p>
            <a:pPr marL="285750" indent="-285750">
              <a:lnSpc>
                <a:spcPct val="100000"/>
              </a:lnSpc>
              <a:spcAft>
                <a:spcPts val="600"/>
              </a:spcAft>
            </a:pPr>
            <a:r>
              <a:rPr lang="en-SG" b="1">
                <a:latin typeface="Roboto" panose="020B0604020202020204" charset="0"/>
                <a:cs typeface="Roboto" panose="020B0604020202020204" charset="0"/>
              </a:rPr>
              <a:t>Not </a:t>
            </a:r>
            <a:r>
              <a:rPr lang="en-SG">
                <a:latin typeface="Roboto" panose="020B0604020202020204" charset="0"/>
                <a:cs typeface="Roboto" panose="020B0604020202020204" charset="0"/>
              </a:rPr>
              <a:t>learning any parameters using gradient descent </a:t>
            </a:r>
          </a:p>
          <a:p>
            <a:pPr marL="285750" indent="-285750">
              <a:lnSpc>
                <a:spcPct val="100000"/>
              </a:lnSpc>
              <a:spcAft>
                <a:spcPts val="600"/>
              </a:spcAft>
            </a:pPr>
            <a:r>
              <a:rPr lang="en-SG">
                <a:latin typeface="Roboto" panose="020B0604020202020204" charset="0"/>
                <a:cs typeface="Roboto" panose="020B0604020202020204" charset="0"/>
              </a:rPr>
              <a:t>Instead, we calculate similarity with Cosine similarity or 			        Pearson Correlation Coefficients</a:t>
            </a:r>
          </a:p>
          <a:p>
            <a:pPr marL="285750" indent="-285750">
              <a:lnSpc>
                <a:spcPct val="100000"/>
              </a:lnSpc>
              <a:spcAft>
                <a:spcPts val="600"/>
              </a:spcAft>
            </a:pPr>
            <a:r>
              <a:rPr lang="en-SG">
                <a:latin typeface="Roboto" panose="020B0604020202020204" charset="0"/>
                <a:cs typeface="Roboto" panose="020B0604020202020204" charset="0"/>
              </a:rPr>
              <a:t>Cosine similarity: Cosine of the angle between two vectors</a:t>
            </a:r>
          </a:p>
        </p:txBody>
      </p:sp>
      <p:sp>
        <p:nvSpPr>
          <p:cNvPr id="79" name="Google Shape;79;p16"/>
          <p:cNvSpPr txBox="1"/>
          <p:nvPr/>
        </p:nvSpPr>
        <p:spPr>
          <a:xfrm>
            <a:off x="202096" y="-57400"/>
            <a:ext cx="8952900" cy="113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" sz="5000">
                <a:solidFill>
                  <a:srgbClr val="073763"/>
                </a:solidFill>
                <a:latin typeface="Proxima Nova"/>
                <a:cs typeface="Proxima Nova"/>
                <a:sym typeface="Proxima Nova"/>
              </a:rPr>
              <a:t>CF System Implementation I</a:t>
            </a:r>
            <a:endParaRPr lang="en" sz="5000">
              <a:solidFill>
                <a:srgbClr val="073763"/>
              </a:solidFill>
              <a:latin typeface="Proxima Nova"/>
              <a:cs typeface="Proxima Nova"/>
            </a:endParaRPr>
          </a:p>
        </p:txBody>
      </p:sp>
      <p:sp>
        <p:nvSpPr>
          <p:cNvPr id="80" name="Google Shape;80;p16"/>
          <p:cNvSpPr/>
          <p:nvPr/>
        </p:nvSpPr>
        <p:spPr>
          <a:xfrm>
            <a:off x="345775" y="849350"/>
            <a:ext cx="2426400" cy="140700"/>
          </a:xfrm>
          <a:prstGeom prst="rect">
            <a:avLst/>
          </a:prstGeom>
          <a:solidFill>
            <a:srgbClr val="85200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7" name="Graphic 6" descr="Filter">
            <a:extLst>
              <a:ext uri="{FF2B5EF4-FFF2-40B4-BE49-F238E27FC236}">
                <a16:creationId xmlns:a16="http://schemas.microsoft.com/office/drawing/2014/main" id="{53DDA5A2-0E72-4688-A894-8B352E02AB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63608" y="-9399"/>
            <a:ext cx="914400" cy="914400"/>
          </a:xfrm>
          <a:prstGeom prst="rect">
            <a:avLst/>
          </a:prstGeom>
        </p:spPr>
      </p:pic>
      <p:pic>
        <p:nvPicPr>
          <p:cNvPr id="3" name="Picture 4" descr="Text&#10;&#10;Description automatically generated">
            <a:extLst>
              <a:ext uri="{FF2B5EF4-FFF2-40B4-BE49-F238E27FC236}">
                <a16:creationId xmlns:a16="http://schemas.microsoft.com/office/drawing/2014/main" id="{D82795C6-EB23-4A0B-AA6A-DDDB3D1902A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45126" b="33214"/>
          <a:stretch/>
        </p:blipFill>
        <p:spPr>
          <a:xfrm>
            <a:off x="6099695" y="3502979"/>
            <a:ext cx="2712862" cy="640847"/>
          </a:xfrm>
          <a:prstGeom prst="rect">
            <a:avLst/>
          </a:prstGeom>
          <a:ln>
            <a:solidFill>
              <a:srgbClr val="073763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734004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Google Shape;77;p16"/>
          <p:cNvPicPr preferRelativeResize="0"/>
          <p:nvPr/>
        </p:nvPicPr>
        <p:blipFill>
          <a:blip r:embed="rId3">
            <a:alphaModFix amt="21000"/>
          </a:blip>
          <a:stretch>
            <a:fillRect/>
          </a:stretch>
        </p:blipFill>
        <p:spPr>
          <a:xfrm rot="5400000">
            <a:off x="1125174" y="-682800"/>
            <a:ext cx="5827776" cy="7193376"/>
          </a:xfrm>
          <a:prstGeom prst="rect">
            <a:avLst/>
          </a:prstGeom>
          <a:noFill/>
          <a:ln>
            <a:noFill/>
          </a:ln>
        </p:spPr>
      </p:pic>
      <p:sp>
        <p:nvSpPr>
          <p:cNvPr id="78" name="Google Shape;78;p16"/>
          <p:cNvSpPr txBox="1">
            <a:spLocks noGrp="1"/>
          </p:cNvSpPr>
          <p:nvPr>
            <p:ph type="body" idx="1"/>
          </p:nvPr>
        </p:nvSpPr>
        <p:spPr>
          <a:xfrm>
            <a:off x="311700" y="1304875"/>
            <a:ext cx="8520600" cy="3416400"/>
          </a:xfrm>
          <a:prstGeom prst="rect">
            <a:avLst/>
          </a:prstGeom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>
              <a:lnSpc>
                <a:spcPct val="150000"/>
              </a:lnSpc>
              <a:spcAft>
                <a:spcPts val="1200"/>
              </a:spcAft>
            </a:pPr>
            <a:r>
              <a:rPr lang="en-SG">
                <a:latin typeface="Roboto" panose="020B0604020202020204" charset="0"/>
                <a:cs typeface="Roboto" panose="020B0604020202020204" charset="0"/>
              </a:rPr>
              <a:t>After computing similarities, use the weighted normalized sum to predict user u's ratings for a movie</a:t>
            </a:r>
            <a:endParaRPr lang="en-US">
              <a:latin typeface="Roboto" panose="020B0604020202020204" charset="0"/>
              <a:cs typeface="Roboto" panose="020B0604020202020204" charset="0"/>
            </a:endParaRPr>
          </a:p>
          <a:p>
            <a:pPr marL="285750" indent="-285750">
              <a:lnSpc>
                <a:spcPct val="150000"/>
              </a:lnSpc>
              <a:spcAft>
                <a:spcPts val="1200"/>
              </a:spcAft>
            </a:pPr>
            <a:r>
              <a:rPr lang="en-SG" b="1">
                <a:latin typeface="Roboto" panose="020B0604020202020204" charset="0"/>
                <a:cs typeface="Roboto" panose="020B0604020202020204" charset="0"/>
              </a:rPr>
              <a:t>Pro:</a:t>
            </a:r>
            <a:r>
              <a:rPr lang="en-SG">
                <a:latin typeface="Roboto" panose="020B0604020202020204" charset="0"/>
                <a:cs typeface="Roboto" panose="020B0604020202020204" charset="0"/>
              </a:rPr>
              <a:t> No training or optimization is involved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</a:pPr>
            <a:r>
              <a:rPr lang="en-SG" b="1">
                <a:latin typeface="Roboto" panose="020B0604020202020204" charset="0"/>
                <a:cs typeface="Roboto" panose="020B0604020202020204" charset="0"/>
              </a:rPr>
              <a:t>Con:</a:t>
            </a:r>
            <a:r>
              <a:rPr lang="en-SG">
                <a:latin typeface="Roboto" panose="020B0604020202020204" charset="0"/>
                <a:cs typeface="Roboto" panose="020B0604020202020204" charset="0"/>
              </a:rPr>
              <a:t> Sparse data hinders scalability of this approach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</a:pPr>
            <a:r>
              <a:rPr lang="en-SG">
                <a:latin typeface="Roboto" panose="020B0604020202020204" charset="0"/>
                <a:cs typeface="Roboto" panose="020B0604020202020204" charset="0"/>
              </a:rPr>
              <a:t>For the example we have here (movie recommendation), our data is </a:t>
            </a:r>
            <a:r>
              <a:rPr lang="en-SG" i="1">
                <a:latin typeface="Roboto" panose="020B0604020202020204" charset="0"/>
                <a:cs typeface="Roboto" panose="020B0604020202020204" charset="0"/>
              </a:rPr>
              <a:t>really sparse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</a:pPr>
            <a:r>
              <a:rPr lang="en-SG">
                <a:latin typeface="Roboto" panose="020B0604020202020204" charset="0"/>
                <a:cs typeface="Roboto" panose="020B0604020202020204" charset="0"/>
              </a:rPr>
              <a:t>Python libraries like </a:t>
            </a:r>
            <a:r>
              <a:rPr lang="en-SG" b="1">
                <a:latin typeface="Roboto" panose="020B0604020202020204" charset="0"/>
                <a:cs typeface="Roboto" panose="020B0604020202020204" charset="0"/>
              </a:rPr>
              <a:t>fast.ai </a:t>
            </a:r>
            <a:r>
              <a:rPr lang="en-SG">
                <a:latin typeface="Roboto" panose="020B0604020202020204" charset="0"/>
                <a:cs typeface="Roboto" panose="020B0604020202020204" charset="0"/>
              </a:rPr>
              <a:t>has libraries for Probabilistic Matrix Factorization</a:t>
            </a:r>
            <a:endParaRPr lang="en-SG" i="1">
              <a:latin typeface="Roboto" panose="020B0604020202020204" charset="0"/>
              <a:cs typeface="Roboto" panose="020B0604020202020204" charset="0"/>
            </a:endParaRPr>
          </a:p>
        </p:txBody>
      </p:sp>
      <p:sp>
        <p:nvSpPr>
          <p:cNvPr id="79" name="Google Shape;79;p16"/>
          <p:cNvSpPr txBox="1"/>
          <p:nvPr/>
        </p:nvSpPr>
        <p:spPr>
          <a:xfrm>
            <a:off x="202096" y="-57400"/>
            <a:ext cx="8952900" cy="113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" sz="5000">
                <a:solidFill>
                  <a:srgbClr val="073763"/>
                </a:solidFill>
                <a:latin typeface="Proxima Nova"/>
                <a:cs typeface="Proxima Nova"/>
                <a:sym typeface="Proxima Nova"/>
              </a:rPr>
              <a:t>CF System Implementation II</a:t>
            </a:r>
            <a:endParaRPr lang="en-US">
              <a:sym typeface="Proxima Nova"/>
            </a:endParaRPr>
          </a:p>
        </p:txBody>
      </p:sp>
      <p:sp>
        <p:nvSpPr>
          <p:cNvPr id="80" name="Google Shape;80;p16"/>
          <p:cNvSpPr/>
          <p:nvPr/>
        </p:nvSpPr>
        <p:spPr>
          <a:xfrm>
            <a:off x="345775" y="849350"/>
            <a:ext cx="2426400" cy="140700"/>
          </a:xfrm>
          <a:prstGeom prst="rect">
            <a:avLst/>
          </a:prstGeom>
          <a:solidFill>
            <a:srgbClr val="85200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7" name="Graphic 6" descr="Filter">
            <a:extLst>
              <a:ext uri="{FF2B5EF4-FFF2-40B4-BE49-F238E27FC236}">
                <a16:creationId xmlns:a16="http://schemas.microsoft.com/office/drawing/2014/main" id="{53DDA5A2-0E72-4688-A894-8B352E02AB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63608" y="-9399"/>
            <a:ext cx="914400" cy="914400"/>
          </a:xfrm>
          <a:prstGeom prst="rect">
            <a:avLst/>
          </a:prstGeom>
        </p:spPr>
      </p:pic>
      <p:pic>
        <p:nvPicPr>
          <p:cNvPr id="4" name="Picture 4" descr="Text&#10;&#10;Description automatically generated">
            <a:extLst>
              <a:ext uri="{FF2B5EF4-FFF2-40B4-BE49-F238E27FC236}">
                <a16:creationId xmlns:a16="http://schemas.microsoft.com/office/drawing/2014/main" id="{94D6C1CD-266B-4B4A-AE34-BF9FB3011A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97415" y="1892022"/>
            <a:ext cx="3265559" cy="1553296"/>
          </a:xfrm>
          <a:prstGeom prst="rect">
            <a:avLst/>
          </a:prstGeom>
          <a:ln>
            <a:solidFill>
              <a:srgbClr val="07376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032438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BBD780-FFDE-4206-9055-F28AC79498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5634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5" name="think-cell Slide" r:id="rId5" imgW="262" imgH="262" progId="TCLayout.ActiveDocument.1">
                  <p:embed/>
                </p:oleObj>
              </mc:Choice>
              <mc:Fallback>
                <p:oleObj name="think-cell Slide" r:id="rId5" imgW="262" imgH="2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BBD780-FFDE-4206-9055-F28AC7949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7" name="Google Shape;77;p16"/>
          <p:cNvPicPr preferRelativeResize="0"/>
          <p:nvPr/>
        </p:nvPicPr>
        <p:blipFill>
          <a:blip r:embed="rId7">
            <a:alphaModFix amt="21000"/>
          </a:blip>
          <a:stretch>
            <a:fillRect/>
          </a:stretch>
        </p:blipFill>
        <p:spPr>
          <a:xfrm rot="5400000">
            <a:off x="1125174" y="-682800"/>
            <a:ext cx="5827776" cy="7193376"/>
          </a:xfrm>
          <a:prstGeom prst="rect">
            <a:avLst/>
          </a:prstGeom>
          <a:noFill/>
          <a:ln>
            <a:noFill/>
          </a:ln>
        </p:spPr>
      </p:pic>
      <p:sp>
        <p:nvSpPr>
          <p:cNvPr id="78" name="Google Shape;78;p16"/>
          <p:cNvSpPr txBox="1">
            <a:spLocks noGrp="1"/>
          </p:cNvSpPr>
          <p:nvPr>
            <p:ph type="body" idx="1"/>
          </p:nvPr>
        </p:nvSpPr>
        <p:spPr>
          <a:xfrm>
            <a:off x="306534" y="1307458"/>
            <a:ext cx="8522208" cy="3419856"/>
          </a:xfrm>
          <a:prstGeom prst="rect">
            <a:avLst/>
          </a:prstGeom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>
              <a:lnSpc>
                <a:spcPct val="100000"/>
              </a:lnSpc>
            </a:pPr>
            <a:r>
              <a:rPr lang="en-SG" b="1">
                <a:latin typeface="Roboto" panose="020B0604020202020204" charset="0"/>
                <a:cs typeface="Roboto" panose="020B0604020202020204" charset="0"/>
              </a:rPr>
              <a:t>Memory</a:t>
            </a:r>
            <a:r>
              <a:rPr lang="en-SG">
                <a:latin typeface="Roboto" panose="020B0604020202020204" charset="0"/>
                <a:cs typeface="Roboto" panose="020B0604020202020204" charset="0"/>
              </a:rPr>
              <a:t>-based: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</a:pPr>
            <a:r>
              <a:rPr lang="en-SG" sz="1800">
                <a:latin typeface="Roboto" panose="020B0604020202020204" charset="0"/>
                <a:cs typeface="Roboto" panose="020B0604020202020204" charset="0"/>
              </a:rPr>
              <a:t>User-Item filtering</a:t>
            </a:r>
            <a:endParaRPr lang="en-US" sz="1800">
              <a:latin typeface="Roboto" panose="020B0604020202020204" charset="0"/>
              <a:cs typeface="Roboto" panose="020B0604020202020204" charset="0"/>
            </a:endParaRP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SG" sz="1800">
                <a:latin typeface="Roboto" panose="020B0604020202020204" charset="0"/>
                <a:cs typeface="Roboto" panose="020B0604020202020204" charset="0"/>
              </a:rPr>
              <a:t>Item-Item filtering</a:t>
            </a:r>
            <a:endParaRPr lang="en-US" sz="1800">
              <a:latin typeface="Roboto" panose="020B0604020202020204" charset="0"/>
              <a:cs typeface="Roboto" panose="020B0604020202020204" charset="0"/>
            </a:endParaRPr>
          </a:p>
          <a:p>
            <a:pPr marL="285750" indent="-285750">
              <a:lnSpc>
                <a:spcPct val="100000"/>
              </a:lnSpc>
            </a:pPr>
            <a:r>
              <a:rPr lang="en-SG" b="1">
                <a:latin typeface="Roboto" panose="020B0604020202020204" charset="0"/>
                <a:cs typeface="Roboto" panose="020B0604020202020204" charset="0"/>
              </a:rPr>
              <a:t>Model</a:t>
            </a:r>
            <a:r>
              <a:rPr lang="en-SG">
                <a:latin typeface="Roboto" panose="020B0604020202020204" charset="0"/>
                <a:cs typeface="Roboto" panose="020B0604020202020204" charset="0"/>
              </a:rPr>
              <a:t>-based: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</a:pPr>
            <a:r>
              <a:rPr lang="en-SG" sz="1800">
                <a:latin typeface="Roboto" panose="020B0604020202020204" charset="0"/>
                <a:cs typeface="Roboto" panose="020B0604020202020204" charset="0"/>
              </a:rPr>
              <a:t>Predict user's rating of unrated items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SG" sz="1800">
                <a:latin typeface="Roboto" panose="020B0604020202020204" charset="0"/>
                <a:cs typeface="Roboto" panose="020B0604020202020204" charset="0"/>
              </a:rPr>
              <a:t>Support Vector Machine, Decision tree</a:t>
            </a:r>
          </a:p>
          <a:p>
            <a:pPr marL="285750" indent="-285750">
              <a:lnSpc>
                <a:spcPct val="100000"/>
              </a:lnSpc>
              <a:spcBef>
                <a:spcPts val="300"/>
              </a:spcBef>
            </a:pPr>
            <a:r>
              <a:rPr lang="en-SG" b="1">
                <a:latin typeface="Roboto" panose="020B0604020202020204" charset="0"/>
                <a:cs typeface="Roboto" panose="020B0604020202020204" charset="0"/>
              </a:rPr>
              <a:t>Clustering</a:t>
            </a:r>
            <a:r>
              <a:rPr lang="en-SG">
                <a:latin typeface="Roboto" panose="020B0604020202020204" charset="0"/>
                <a:cs typeface="Roboto" panose="020B0604020202020204" charset="0"/>
              </a:rPr>
              <a:t>-based: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</a:pPr>
            <a:r>
              <a:rPr lang="en-SG" sz="1800">
                <a:latin typeface="Roboto" panose="020B0604020202020204" charset="0"/>
                <a:cs typeface="Roboto" panose="020B0604020202020204" charset="0"/>
              </a:rPr>
              <a:t>K-Nearest-</a:t>
            </a:r>
            <a:r>
              <a:rPr lang="en-SG" sz="1800" err="1">
                <a:latin typeface="Roboto" panose="020B0604020202020204" charset="0"/>
                <a:cs typeface="Roboto" panose="020B0604020202020204" charset="0"/>
              </a:rPr>
              <a:t>Neighbors</a:t>
            </a:r>
            <a:r>
              <a:rPr lang="en-SG" sz="1800">
                <a:latin typeface="Roboto" panose="020B0604020202020204" charset="0"/>
                <a:cs typeface="Roboto" panose="020B0604020202020204" charset="0"/>
              </a:rPr>
              <a:t> -&gt; Non-parametric approach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</a:pPr>
            <a:r>
              <a:rPr lang="en-SG" sz="1800">
                <a:latin typeface="Roboto" panose="020B0604020202020204" charset="0"/>
                <a:cs typeface="Roboto" panose="020B0604020202020204" charset="0"/>
              </a:rPr>
              <a:t>For KNN, we limit number of similar users as k, which makes system more scalable</a:t>
            </a:r>
          </a:p>
        </p:txBody>
      </p:sp>
      <p:sp>
        <p:nvSpPr>
          <p:cNvPr id="79" name="Google Shape;79;p16"/>
          <p:cNvSpPr txBox="1"/>
          <p:nvPr/>
        </p:nvSpPr>
        <p:spPr>
          <a:xfrm>
            <a:off x="202096" y="-50143"/>
            <a:ext cx="8952900" cy="113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" sz="5000">
                <a:solidFill>
                  <a:srgbClr val="073763"/>
                </a:solidFill>
                <a:latin typeface="Proxima Nova"/>
                <a:cs typeface="Proxima Nova"/>
              </a:rPr>
              <a:t>CF System Implementation III</a:t>
            </a:r>
          </a:p>
        </p:txBody>
      </p:sp>
      <p:sp>
        <p:nvSpPr>
          <p:cNvPr id="80" name="Google Shape;80;p16"/>
          <p:cNvSpPr/>
          <p:nvPr/>
        </p:nvSpPr>
        <p:spPr>
          <a:xfrm>
            <a:off x="345775" y="849350"/>
            <a:ext cx="2426400" cy="140700"/>
          </a:xfrm>
          <a:prstGeom prst="rect">
            <a:avLst/>
          </a:prstGeom>
          <a:solidFill>
            <a:srgbClr val="85200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7" name="Graphic 6" descr="Filter">
            <a:extLst>
              <a:ext uri="{FF2B5EF4-FFF2-40B4-BE49-F238E27FC236}">
                <a16:creationId xmlns:a16="http://schemas.microsoft.com/office/drawing/2014/main" id="{53DDA5A2-0E72-4688-A894-8B352E02AB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263608" y="-9399"/>
            <a:ext cx="914400" cy="914400"/>
          </a:xfrm>
          <a:prstGeom prst="rect">
            <a:avLst/>
          </a:prstGeom>
        </p:spPr>
      </p:pic>
      <p:pic>
        <p:nvPicPr>
          <p:cNvPr id="10" name="Picture 2" descr="Diagram&#10;&#10;Description automatically generated">
            <a:extLst>
              <a:ext uri="{FF2B5EF4-FFF2-40B4-BE49-F238E27FC236}">
                <a16:creationId xmlns:a16="http://schemas.microsoft.com/office/drawing/2014/main" id="{45A006CB-5AFE-45DF-A8B5-98F753E94F0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03447" y="1198600"/>
            <a:ext cx="4021894" cy="2287549"/>
          </a:xfrm>
          <a:prstGeom prst="rect">
            <a:avLst/>
          </a:prstGeom>
          <a:ln>
            <a:solidFill>
              <a:srgbClr val="07376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93134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Google Shape;77;p16"/>
          <p:cNvPicPr preferRelativeResize="0"/>
          <p:nvPr/>
        </p:nvPicPr>
        <p:blipFill>
          <a:blip r:embed="rId3">
            <a:alphaModFix amt="21000"/>
          </a:blip>
          <a:stretch>
            <a:fillRect/>
          </a:stretch>
        </p:blipFill>
        <p:spPr>
          <a:xfrm rot="5400000">
            <a:off x="1125174" y="-682800"/>
            <a:ext cx="5827776" cy="7193376"/>
          </a:xfrm>
          <a:prstGeom prst="rect">
            <a:avLst/>
          </a:prstGeom>
          <a:noFill/>
          <a:ln>
            <a:noFill/>
          </a:ln>
        </p:spPr>
      </p:pic>
      <p:sp>
        <p:nvSpPr>
          <p:cNvPr id="78" name="Google Shape;78;p16"/>
          <p:cNvSpPr txBox="1">
            <a:spLocks noGrp="1"/>
          </p:cNvSpPr>
          <p:nvPr>
            <p:ph type="body" idx="1"/>
          </p:nvPr>
        </p:nvSpPr>
        <p:spPr>
          <a:xfrm>
            <a:off x="332110" y="1294670"/>
            <a:ext cx="8369516" cy="3705755"/>
          </a:xfrm>
          <a:prstGeom prst="rect">
            <a:avLst/>
          </a:prstGeom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>
              <a:lnSpc>
                <a:spcPct val="100000"/>
              </a:lnSpc>
            </a:pPr>
            <a:r>
              <a:rPr lang="en-SG" b="1">
                <a:latin typeface="Roboto" panose="020B0604020202020204" charset="0"/>
                <a:cs typeface="Roboto" panose="020B0604020202020204" charset="0"/>
              </a:rPr>
              <a:t>Deep Learning </a:t>
            </a:r>
            <a:r>
              <a:rPr lang="en-SG">
                <a:latin typeface="Roboto" panose="020B0604020202020204" charset="0"/>
                <a:cs typeface="Roboto" panose="020B0604020202020204" charset="0"/>
              </a:rPr>
              <a:t>approach – multi-layered Neural Nets</a:t>
            </a:r>
          </a:p>
          <a:p>
            <a:pPr marL="742950" lvl="1" indent="-28575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SG" sz="1800">
                <a:latin typeface="Roboto" panose="020B0604020202020204" charset="0"/>
                <a:cs typeface="Roboto" panose="020B0604020202020204" charset="0"/>
              </a:rPr>
              <a:t>Create embeddings that represent categorical variables as continuous vectors. NN embeddings are low-dimensional and learned</a:t>
            </a:r>
          </a:p>
          <a:p>
            <a:pPr marL="742950" lvl="1" indent="-28575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SG" sz="1800">
                <a:latin typeface="Roboto"/>
                <a:cs typeface="Roboto"/>
              </a:rPr>
              <a:t>Embeddings are used to find nearest </a:t>
            </a:r>
            <a:r>
              <a:rPr lang="en-SG" sz="1800" err="1">
                <a:latin typeface="Roboto"/>
                <a:cs typeface="Roboto"/>
              </a:rPr>
              <a:t>neighbors</a:t>
            </a:r>
            <a:r>
              <a:rPr lang="en-SG" sz="1800">
                <a:latin typeface="Roboto"/>
                <a:cs typeface="Roboto"/>
              </a:rPr>
              <a:t>, visualization in low dimensions, and can be inputs to an ML model</a:t>
            </a:r>
          </a:p>
          <a:p>
            <a:pPr marL="742950" lvl="1" indent="-28575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SG" sz="1800">
                <a:latin typeface="Roboto" panose="020B0604020202020204" charset="0"/>
                <a:cs typeface="Roboto" panose="020B0604020202020204" charset="0"/>
              </a:rPr>
              <a:t>Can be implemented with the </a:t>
            </a:r>
            <a:r>
              <a:rPr lang="en-SG" sz="1800" err="1">
                <a:latin typeface="Roboto" panose="020B0604020202020204" charset="0"/>
                <a:cs typeface="Roboto" panose="020B0604020202020204" charset="0"/>
              </a:rPr>
              <a:t>Keras</a:t>
            </a:r>
            <a:r>
              <a:rPr lang="en-SG" sz="1800">
                <a:latin typeface="Roboto" panose="020B0604020202020204" charset="0"/>
                <a:cs typeface="Roboto" panose="020B0604020202020204" charset="0"/>
              </a:rPr>
              <a:t> framework in Python (we won't be doing this)</a:t>
            </a:r>
          </a:p>
        </p:txBody>
      </p:sp>
      <p:sp>
        <p:nvSpPr>
          <p:cNvPr id="79" name="Google Shape;79;p16"/>
          <p:cNvSpPr txBox="1"/>
          <p:nvPr/>
        </p:nvSpPr>
        <p:spPr>
          <a:xfrm>
            <a:off x="202096" y="-57400"/>
            <a:ext cx="8952900" cy="113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" sz="5000">
                <a:solidFill>
                  <a:srgbClr val="073763"/>
                </a:solidFill>
                <a:latin typeface="Proxima Nova"/>
                <a:cs typeface="Proxima Nova"/>
                <a:sym typeface="Proxima Nova"/>
              </a:rPr>
              <a:t>CF System Implementation IV</a:t>
            </a:r>
            <a:endParaRPr lang="en-US">
              <a:sym typeface="Proxima Nova"/>
            </a:endParaRPr>
          </a:p>
        </p:txBody>
      </p:sp>
      <p:sp>
        <p:nvSpPr>
          <p:cNvPr id="80" name="Google Shape;80;p16"/>
          <p:cNvSpPr/>
          <p:nvPr/>
        </p:nvSpPr>
        <p:spPr>
          <a:xfrm>
            <a:off x="345775" y="849350"/>
            <a:ext cx="2426400" cy="140700"/>
          </a:xfrm>
          <a:prstGeom prst="rect">
            <a:avLst/>
          </a:prstGeom>
          <a:solidFill>
            <a:srgbClr val="85200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7" name="Graphic 6" descr="Filter">
            <a:extLst>
              <a:ext uri="{FF2B5EF4-FFF2-40B4-BE49-F238E27FC236}">
                <a16:creationId xmlns:a16="http://schemas.microsoft.com/office/drawing/2014/main" id="{53DDA5A2-0E72-4688-A894-8B352E02AB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63608" y="-9399"/>
            <a:ext cx="914400" cy="914400"/>
          </a:xfrm>
          <a:prstGeom prst="rect">
            <a:avLst/>
          </a:prstGeom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9B9C97C-630A-4542-855D-F665A6DD6A6B}"/>
              </a:ext>
            </a:extLst>
          </p:cNvPr>
          <p:cNvSpPr/>
          <p:nvPr/>
        </p:nvSpPr>
        <p:spPr>
          <a:xfrm>
            <a:off x="444367" y="3886788"/>
            <a:ext cx="1774045" cy="709618"/>
          </a:xfrm>
          <a:custGeom>
            <a:avLst/>
            <a:gdLst>
              <a:gd name="connsiteX0" fmla="*/ 0 w 1774045"/>
              <a:gd name="connsiteY0" fmla="*/ 0 h 709618"/>
              <a:gd name="connsiteX1" fmla="*/ 1419236 w 1774045"/>
              <a:gd name="connsiteY1" fmla="*/ 0 h 709618"/>
              <a:gd name="connsiteX2" fmla="*/ 1774045 w 1774045"/>
              <a:gd name="connsiteY2" fmla="*/ 354809 h 709618"/>
              <a:gd name="connsiteX3" fmla="*/ 1419236 w 1774045"/>
              <a:gd name="connsiteY3" fmla="*/ 709618 h 709618"/>
              <a:gd name="connsiteX4" fmla="*/ 0 w 1774045"/>
              <a:gd name="connsiteY4" fmla="*/ 709618 h 709618"/>
              <a:gd name="connsiteX5" fmla="*/ 354809 w 1774045"/>
              <a:gd name="connsiteY5" fmla="*/ 354809 h 709618"/>
              <a:gd name="connsiteX6" fmla="*/ 0 w 1774045"/>
              <a:gd name="connsiteY6" fmla="*/ 0 h 709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4045" h="709618">
                <a:moveTo>
                  <a:pt x="0" y="0"/>
                </a:moveTo>
                <a:lnTo>
                  <a:pt x="1419236" y="0"/>
                </a:lnTo>
                <a:lnTo>
                  <a:pt x="1774045" y="354809"/>
                </a:lnTo>
                <a:lnTo>
                  <a:pt x="1419236" y="709618"/>
                </a:lnTo>
                <a:lnTo>
                  <a:pt x="0" y="709618"/>
                </a:lnTo>
                <a:lnTo>
                  <a:pt x="354809" y="354809"/>
                </a:lnTo>
                <a:lnTo>
                  <a:pt x="0" y="0"/>
                </a:lnTo>
                <a:close/>
              </a:path>
            </a:pathLst>
          </a:custGeom>
          <a:solidFill>
            <a:srgbClr val="85200C"/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10816" tIns="18669" rIns="373478" bIns="18669" numCol="1" spcCol="1270" anchor="ctr" anchorCtr="0">
            <a:noAutofit/>
          </a:bodyPr>
          <a:lstStyle/>
          <a:p>
            <a:pPr marL="0" lvl="0" indent="0" algn="ctr" defTabSz="6223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>
                <a:latin typeface="Roboto" panose="020B0604020202020204" charset="0"/>
                <a:cs typeface="Roboto" panose="020B0604020202020204" charset="0"/>
              </a:rPr>
              <a:t>Preprocessed Inpu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DECD7DE8-CCC4-496F-B8D2-30A4A91075F3}"/>
              </a:ext>
            </a:extLst>
          </p:cNvPr>
          <p:cNvSpPr/>
          <p:nvPr/>
        </p:nvSpPr>
        <p:spPr>
          <a:xfrm>
            <a:off x="2041008" y="3886788"/>
            <a:ext cx="1774045" cy="709618"/>
          </a:xfrm>
          <a:custGeom>
            <a:avLst/>
            <a:gdLst>
              <a:gd name="connsiteX0" fmla="*/ 0 w 1774045"/>
              <a:gd name="connsiteY0" fmla="*/ 0 h 709618"/>
              <a:gd name="connsiteX1" fmla="*/ 1419236 w 1774045"/>
              <a:gd name="connsiteY1" fmla="*/ 0 h 709618"/>
              <a:gd name="connsiteX2" fmla="*/ 1774045 w 1774045"/>
              <a:gd name="connsiteY2" fmla="*/ 354809 h 709618"/>
              <a:gd name="connsiteX3" fmla="*/ 1419236 w 1774045"/>
              <a:gd name="connsiteY3" fmla="*/ 709618 h 709618"/>
              <a:gd name="connsiteX4" fmla="*/ 0 w 1774045"/>
              <a:gd name="connsiteY4" fmla="*/ 709618 h 709618"/>
              <a:gd name="connsiteX5" fmla="*/ 354809 w 1774045"/>
              <a:gd name="connsiteY5" fmla="*/ 354809 h 709618"/>
              <a:gd name="connsiteX6" fmla="*/ 0 w 1774045"/>
              <a:gd name="connsiteY6" fmla="*/ 0 h 709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4045" h="709618">
                <a:moveTo>
                  <a:pt x="0" y="0"/>
                </a:moveTo>
                <a:lnTo>
                  <a:pt x="1419236" y="0"/>
                </a:lnTo>
                <a:lnTo>
                  <a:pt x="1774045" y="354809"/>
                </a:lnTo>
                <a:lnTo>
                  <a:pt x="1419236" y="709618"/>
                </a:lnTo>
                <a:lnTo>
                  <a:pt x="0" y="709618"/>
                </a:lnTo>
                <a:lnTo>
                  <a:pt x="354809" y="354809"/>
                </a:lnTo>
                <a:lnTo>
                  <a:pt x="0" y="0"/>
                </a:lnTo>
                <a:close/>
              </a:path>
            </a:pathLst>
          </a:custGeom>
          <a:solidFill>
            <a:srgbClr val="073763"/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10816" tIns="18669" rIns="373478" bIns="18669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>
                <a:latin typeface="Roboto" panose="020B0604020202020204" charset="0"/>
                <a:cs typeface="Roboto" panose="020B0604020202020204" charset="0"/>
              </a:rPr>
              <a:t>Embedding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671BF0B-9168-4011-AC3B-88E3A61F906A}"/>
              </a:ext>
            </a:extLst>
          </p:cNvPr>
          <p:cNvSpPr/>
          <p:nvPr/>
        </p:nvSpPr>
        <p:spPr>
          <a:xfrm>
            <a:off x="3637649" y="3886788"/>
            <a:ext cx="1774045" cy="709618"/>
          </a:xfrm>
          <a:custGeom>
            <a:avLst/>
            <a:gdLst>
              <a:gd name="connsiteX0" fmla="*/ 0 w 1774045"/>
              <a:gd name="connsiteY0" fmla="*/ 0 h 709618"/>
              <a:gd name="connsiteX1" fmla="*/ 1419236 w 1774045"/>
              <a:gd name="connsiteY1" fmla="*/ 0 h 709618"/>
              <a:gd name="connsiteX2" fmla="*/ 1774045 w 1774045"/>
              <a:gd name="connsiteY2" fmla="*/ 354809 h 709618"/>
              <a:gd name="connsiteX3" fmla="*/ 1419236 w 1774045"/>
              <a:gd name="connsiteY3" fmla="*/ 709618 h 709618"/>
              <a:gd name="connsiteX4" fmla="*/ 0 w 1774045"/>
              <a:gd name="connsiteY4" fmla="*/ 709618 h 709618"/>
              <a:gd name="connsiteX5" fmla="*/ 354809 w 1774045"/>
              <a:gd name="connsiteY5" fmla="*/ 354809 h 709618"/>
              <a:gd name="connsiteX6" fmla="*/ 0 w 1774045"/>
              <a:gd name="connsiteY6" fmla="*/ 0 h 709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4045" h="709618">
                <a:moveTo>
                  <a:pt x="0" y="0"/>
                </a:moveTo>
                <a:lnTo>
                  <a:pt x="1419236" y="0"/>
                </a:lnTo>
                <a:lnTo>
                  <a:pt x="1774045" y="354809"/>
                </a:lnTo>
                <a:lnTo>
                  <a:pt x="1419236" y="709618"/>
                </a:lnTo>
                <a:lnTo>
                  <a:pt x="0" y="709618"/>
                </a:lnTo>
                <a:lnTo>
                  <a:pt x="354809" y="354809"/>
                </a:lnTo>
                <a:lnTo>
                  <a:pt x="0" y="0"/>
                </a:lnTo>
                <a:close/>
              </a:path>
            </a:pathLst>
          </a:custGeom>
          <a:solidFill>
            <a:srgbClr val="073763"/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10816" tIns="18669" rIns="373478" bIns="18669" numCol="1" spcCol="1270" anchor="ctr" anchorCtr="0">
            <a:noAutofit/>
          </a:bodyPr>
          <a:lstStyle/>
          <a:p>
            <a:pPr marL="0" lvl="0" indent="0" algn="ctr" defTabSz="6223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>
                <a:latin typeface="Roboto" panose="020B0604020202020204" charset="0"/>
                <a:cs typeface="Roboto" panose="020B0604020202020204" charset="0"/>
              </a:rPr>
              <a:t>Dot Products Between Embedding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74977C6D-39CF-408D-B247-54CC6C72F700}"/>
              </a:ext>
            </a:extLst>
          </p:cNvPr>
          <p:cNvSpPr/>
          <p:nvPr/>
        </p:nvSpPr>
        <p:spPr>
          <a:xfrm>
            <a:off x="5234290" y="3886788"/>
            <a:ext cx="1774045" cy="709618"/>
          </a:xfrm>
          <a:custGeom>
            <a:avLst/>
            <a:gdLst>
              <a:gd name="connsiteX0" fmla="*/ 0 w 1774045"/>
              <a:gd name="connsiteY0" fmla="*/ 0 h 709618"/>
              <a:gd name="connsiteX1" fmla="*/ 1419236 w 1774045"/>
              <a:gd name="connsiteY1" fmla="*/ 0 h 709618"/>
              <a:gd name="connsiteX2" fmla="*/ 1774045 w 1774045"/>
              <a:gd name="connsiteY2" fmla="*/ 354809 h 709618"/>
              <a:gd name="connsiteX3" fmla="*/ 1419236 w 1774045"/>
              <a:gd name="connsiteY3" fmla="*/ 709618 h 709618"/>
              <a:gd name="connsiteX4" fmla="*/ 0 w 1774045"/>
              <a:gd name="connsiteY4" fmla="*/ 709618 h 709618"/>
              <a:gd name="connsiteX5" fmla="*/ 354809 w 1774045"/>
              <a:gd name="connsiteY5" fmla="*/ 354809 h 709618"/>
              <a:gd name="connsiteX6" fmla="*/ 0 w 1774045"/>
              <a:gd name="connsiteY6" fmla="*/ 0 h 709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4045" h="709618">
                <a:moveTo>
                  <a:pt x="0" y="0"/>
                </a:moveTo>
                <a:lnTo>
                  <a:pt x="1419236" y="0"/>
                </a:lnTo>
                <a:lnTo>
                  <a:pt x="1774045" y="354809"/>
                </a:lnTo>
                <a:lnTo>
                  <a:pt x="1419236" y="709618"/>
                </a:lnTo>
                <a:lnTo>
                  <a:pt x="0" y="709618"/>
                </a:lnTo>
                <a:lnTo>
                  <a:pt x="354809" y="354809"/>
                </a:lnTo>
                <a:lnTo>
                  <a:pt x="0" y="0"/>
                </a:lnTo>
                <a:close/>
              </a:path>
            </a:pathLst>
          </a:custGeom>
          <a:solidFill>
            <a:srgbClr val="073763"/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10816" tIns="18669" rIns="373478" bIns="18669" numCol="1" spcCol="1270" anchor="ctr" anchorCtr="0">
            <a:noAutofit/>
          </a:bodyPr>
          <a:lstStyle/>
          <a:p>
            <a:pPr marL="0" lvl="0" indent="0" algn="ctr" defTabSz="6223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>
                <a:latin typeface="Roboto" panose="020B0604020202020204" charset="0"/>
                <a:cs typeface="Roboto" panose="020B0604020202020204" charset="0"/>
              </a:rPr>
              <a:t>Reshaping of Dot Products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2C5F84B-001C-4348-8E40-B1A440AE83DC}"/>
              </a:ext>
            </a:extLst>
          </p:cNvPr>
          <p:cNvSpPr/>
          <p:nvPr/>
        </p:nvSpPr>
        <p:spPr>
          <a:xfrm>
            <a:off x="6830931" y="3886788"/>
            <a:ext cx="1774045" cy="709618"/>
          </a:xfrm>
          <a:custGeom>
            <a:avLst/>
            <a:gdLst>
              <a:gd name="connsiteX0" fmla="*/ 0 w 1774045"/>
              <a:gd name="connsiteY0" fmla="*/ 0 h 709618"/>
              <a:gd name="connsiteX1" fmla="*/ 1419236 w 1774045"/>
              <a:gd name="connsiteY1" fmla="*/ 0 h 709618"/>
              <a:gd name="connsiteX2" fmla="*/ 1774045 w 1774045"/>
              <a:gd name="connsiteY2" fmla="*/ 354809 h 709618"/>
              <a:gd name="connsiteX3" fmla="*/ 1419236 w 1774045"/>
              <a:gd name="connsiteY3" fmla="*/ 709618 h 709618"/>
              <a:gd name="connsiteX4" fmla="*/ 0 w 1774045"/>
              <a:gd name="connsiteY4" fmla="*/ 709618 h 709618"/>
              <a:gd name="connsiteX5" fmla="*/ 354809 w 1774045"/>
              <a:gd name="connsiteY5" fmla="*/ 354809 h 709618"/>
              <a:gd name="connsiteX6" fmla="*/ 0 w 1774045"/>
              <a:gd name="connsiteY6" fmla="*/ 0 h 709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4045" h="709618">
                <a:moveTo>
                  <a:pt x="0" y="0"/>
                </a:moveTo>
                <a:lnTo>
                  <a:pt x="1419236" y="0"/>
                </a:lnTo>
                <a:lnTo>
                  <a:pt x="1774045" y="354809"/>
                </a:lnTo>
                <a:lnTo>
                  <a:pt x="1419236" y="709618"/>
                </a:lnTo>
                <a:lnTo>
                  <a:pt x="0" y="709618"/>
                </a:lnTo>
                <a:lnTo>
                  <a:pt x="354809" y="354809"/>
                </a:lnTo>
                <a:lnTo>
                  <a:pt x="0" y="0"/>
                </a:lnTo>
                <a:close/>
              </a:path>
            </a:pathLst>
          </a:custGeom>
          <a:solidFill>
            <a:srgbClr val="85200C"/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10816" tIns="18669" rIns="373478" bIns="18669" numCol="1" spcCol="1270" anchor="ctr" anchorCtr="0">
            <a:noAutofit/>
          </a:bodyPr>
          <a:lstStyle/>
          <a:p>
            <a:pPr marL="0" lvl="0" indent="0" algn="ctr" defTabSz="6223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>
                <a:latin typeface="Roboto" panose="020B0604020202020204" charset="0"/>
                <a:cs typeface="Roboto" panose="020B0604020202020204" charset="0"/>
              </a:rPr>
              <a:t>Activation Outpu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BD652B-04F2-43A6-8E43-92162185316F}"/>
              </a:ext>
            </a:extLst>
          </p:cNvPr>
          <p:cNvSpPr txBox="1"/>
          <p:nvPr/>
        </p:nvSpPr>
        <p:spPr>
          <a:xfrm>
            <a:off x="3167039" y="3476171"/>
            <a:ext cx="26996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>
                <a:latin typeface="Roboto" panose="020B0604020202020204" charset="0"/>
                <a:cs typeface="Roboto" panose="020B0604020202020204" charset="0"/>
              </a:rPr>
              <a:t>Recommendation Pipeline</a:t>
            </a:r>
          </a:p>
        </p:txBody>
      </p:sp>
    </p:spTree>
    <p:extLst>
      <p:ext uri="{BB962C8B-B14F-4D97-AF65-F5344CB8AC3E}">
        <p14:creationId xmlns:p14="http://schemas.microsoft.com/office/powerpoint/2010/main" val="40128972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Google Shape;77;p16"/>
          <p:cNvPicPr preferRelativeResize="0"/>
          <p:nvPr/>
        </p:nvPicPr>
        <p:blipFill>
          <a:blip r:embed="rId3">
            <a:alphaModFix amt="21000"/>
          </a:blip>
          <a:stretch>
            <a:fillRect/>
          </a:stretch>
        </p:blipFill>
        <p:spPr>
          <a:xfrm rot="5400000">
            <a:off x="1125174" y="-682800"/>
            <a:ext cx="5827776" cy="7193376"/>
          </a:xfrm>
          <a:prstGeom prst="rect">
            <a:avLst/>
          </a:prstGeom>
          <a:noFill/>
          <a:ln>
            <a:noFill/>
          </a:ln>
        </p:spPr>
      </p:pic>
      <p:sp>
        <p:nvSpPr>
          <p:cNvPr id="78" name="Google Shape;78;p16"/>
          <p:cNvSpPr txBox="1">
            <a:spLocks noGrp="1"/>
          </p:cNvSpPr>
          <p:nvPr>
            <p:ph type="body" idx="1"/>
          </p:nvPr>
        </p:nvSpPr>
        <p:spPr>
          <a:xfrm>
            <a:off x="311700" y="1304875"/>
            <a:ext cx="8520600" cy="3416400"/>
          </a:xfrm>
          <a:prstGeom prst="rect">
            <a:avLst/>
          </a:prstGeom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>
              <a:spcAft>
                <a:spcPts val="1600"/>
              </a:spcAft>
            </a:pPr>
            <a:r>
              <a:rPr lang="en-SG">
                <a:solidFill>
                  <a:srgbClr val="595959"/>
                </a:solidFill>
                <a:latin typeface="Roboto"/>
                <a:ea typeface="Roboto"/>
                <a:cs typeface="Roboto"/>
                <a:sym typeface="Roboto"/>
              </a:rPr>
              <a:t>Allows</a:t>
            </a:r>
            <a:r>
              <a:rPr lang="en-SG">
                <a:latin typeface="Roboto"/>
                <a:ea typeface="Roboto"/>
                <a:cs typeface="Roboto"/>
                <a:sym typeface="Roboto"/>
              </a:rPr>
              <a:t> you to train / deploy / update recommender system in real time</a:t>
            </a:r>
          </a:p>
          <a:p>
            <a:pPr marL="285750" indent="-285750">
              <a:spcAft>
                <a:spcPts val="1600"/>
              </a:spcAft>
            </a:pPr>
            <a:r>
              <a:rPr lang="en-SG">
                <a:latin typeface="Roboto"/>
                <a:ea typeface="Roboto"/>
                <a:cs typeface="Roboto"/>
                <a:sym typeface="Roboto"/>
              </a:rPr>
              <a:t>Reasonable pricing depending on project scope</a:t>
            </a:r>
            <a:endParaRPr lang="en-SG">
              <a:solidFill>
                <a:srgbClr val="073763"/>
              </a:solidFill>
              <a:latin typeface="Roboto"/>
              <a:ea typeface="Roboto"/>
              <a:cs typeface="Roboto"/>
              <a:sym typeface="Roboto"/>
              <a:hlinkClick r:id="rId4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285750" indent="-285750">
              <a:spcAft>
                <a:spcPts val="1600"/>
              </a:spcAft>
            </a:pPr>
            <a:r>
              <a:rPr lang="en-SG">
                <a:solidFill>
                  <a:srgbClr val="073763"/>
                </a:solidFill>
                <a:latin typeface="Roboto"/>
                <a:ea typeface="Roboto"/>
                <a:cs typeface="Roboto"/>
                <a:sym typeface="Roboto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ws.amazon.com/personalize/</a:t>
            </a:r>
            <a:endParaRPr lang="en-SG">
              <a:solidFill>
                <a:srgbClr val="073763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79" name="Google Shape;79;p16"/>
          <p:cNvSpPr txBox="1"/>
          <p:nvPr/>
        </p:nvSpPr>
        <p:spPr>
          <a:xfrm>
            <a:off x="202096" y="-57400"/>
            <a:ext cx="8952900" cy="113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5000">
                <a:solidFill>
                  <a:srgbClr val="073763"/>
                </a:solidFill>
                <a:latin typeface="Proxima Nova"/>
                <a:ea typeface="Proxima Nova"/>
                <a:cs typeface="Proxima Nova"/>
                <a:sym typeface="Proxima Nova"/>
              </a:rPr>
              <a:t>Amazon Personalize (AWS)</a:t>
            </a:r>
            <a:endParaRPr sz="2700">
              <a:solidFill>
                <a:srgbClr val="073763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80" name="Google Shape;80;p16"/>
          <p:cNvSpPr/>
          <p:nvPr/>
        </p:nvSpPr>
        <p:spPr>
          <a:xfrm>
            <a:off x="345775" y="849350"/>
            <a:ext cx="2426400" cy="140700"/>
          </a:xfrm>
          <a:prstGeom prst="rect">
            <a:avLst/>
          </a:prstGeom>
          <a:solidFill>
            <a:srgbClr val="85200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" name="Picture 2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47D12CB9-ECF5-4935-B7AA-1DA015F968A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95005" y="2870894"/>
            <a:ext cx="4553989" cy="2013211"/>
          </a:xfrm>
          <a:prstGeom prst="rect">
            <a:avLst/>
          </a:prstGeom>
          <a:ln>
            <a:solidFill>
              <a:srgbClr val="073763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149651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Google Shape;77;p16"/>
          <p:cNvPicPr preferRelativeResize="0"/>
          <p:nvPr/>
        </p:nvPicPr>
        <p:blipFill>
          <a:blip r:embed="rId3">
            <a:alphaModFix amt="21000"/>
          </a:blip>
          <a:stretch>
            <a:fillRect/>
          </a:stretch>
        </p:blipFill>
        <p:spPr>
          <a:xfrm rot="5400000">
            <a:off x="1125174" y="-682800"/>
            <a:ext cx="5827776" cy="7193376"/>
          </a:xfrm>
          <a:prstGeom prst="rect">
            <a:avLst/>
          </a:prstGeom>
          <a:noFill/>
          <a:ln>
            <a:noFill/>
          </a:ln>
        </p:spPr>
      </p:pic>
      <p:sp>
        <p:nvSpPr>
          <p:cNvPr id="78" name="Google Shape;78;p16"/>
          <p:cNvSpPr txBox="1">
            <a:spLocks noGrp="1"/>
          </p:cNvSpPr>
          <p:nvPr>
            <p:ph type="body" idx="1"/>
          </p:nvPr>
        </p:nvSpPr>
        <p:spPr>
          <a:xfrm>
            <a:off x="311700" y="1304875"/>
            <a:ext cx="8520600" cy="3416400"/>
          </a:xfrm>
          <a:prstGeom prst="rect">
            <a:avLst/>
          </a:prstGeom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>
              <a:spcAft>
                <a:spcPts val="1600"/>
              </a:spcAft>
            </a:pPr>
            <a:r>
              <a:rPr lang="en-SG">
                <a:solidFill>
                  <a:srgbClr val="595959"/>
                </a:solidFill>
                <a:latin typeface="Roboto"/>
                <a:ea typeface="Roboto"/>
                <a:cs typeface="Roboto"/>
                <a:sym typeface="Roboto"/>
              </a:rPr>
              <a:t>Kaggle Competitions: </a:t>
            </a:r>
            <a:r>
              <a:rPr lang="en-SG">
                <a:solidFill>
                  <a:srgbClr val="073763"/>
                </a:solidFill>
                <a:latin typeface="Roboto"/>
                <a:ea typeface="Roboto"/>
                <a:cs typeface="Roboto"/>
                <a:sym typeface="Roboto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kaggle.com/search?q=recommender</a:t>
            </a:r>
            <a:endParaRPr lang="en-SG">
              <a:solidFill>
                <a:srgbClr val="073763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285750" indent="-285750">
              <a:spcAft>
                <a:spcPts val="1600"/>
              </a:spcAft>
            </a:pPr>
            <a:r>
              <a:rPr lang="en-SG">
                <a:solidFill>
                  <a:srgbClr val="595959"/>
                </a:solidFill>
                <a:latin typeface="Roboto"/>
                <a:ea typeface="Roboto"/>
                <a:cs typeface="Roboto"/>
                <a:sym typeface="Roboto"/>
              </a:rPr>
              <a:t>Towards Data Science: </a:t>
            </a:r>
            <a:r>
              <a:rPr lang="en-SG">
                <a:solidFill>
                  <a:srgbClr val="073763"/>
                </a:solidFill>
                <a:latin typeface="Roboto"/>
                <a:ea typeface="Roboto"/>
                <a:cs typeface="Roboto"/>
                <a:sym typeface="Roboto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owardsdatascience.com/search?q=recommender/</a:t>
            </a:r>
            <a:endParaRPr lang="en-SG">
              <a:solidFill>
                <a:srgbClr val="073763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285750" indent="-285750">
              <a:spcAft>
                <a:spcPts val="1600"/>
              </a:spcAft>
            </a:pPr>
            <a:r>
              <a:rPr lang="en-SG">
                <a:solidFill>
                  <a:srgbClr val="595959"/>
                </a:solidFill>
                <a:latin typeface="Roboto"/>
                <a:ea typeface="Roboto"/>
                <a:cs typeface="Roboto"/>
                <a:sym typeface="Roboto"/>
              </a:rPr>
              <a:t>Medium: </a:t>
            </a:r>
            <a:r>
              <a:rPr lang="en-SG">
                <a:solidFill>
                  <a:srgbClr val="073763"/>
                </a:solidFill>
                <a:latin typeface="Roboto"/>
                <a:ea typeface="Roboto"/>
                <a:cs typeface="Roboto"/>
                <a:sym typeface="Roboto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medium.com/search?q=recommender</a:t>
            </a:r>
            <a:endParaRPr lang="en-SG">
              <a:solidFill>
                <a:srgbClr val="595959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285750" indent="-285750">
              <a:spcAft>
                <a:spcPts val="1600"/>
              </a:spcAft>
            </a:pPr>
            <a:endParaRPr lang="en-SG">
              <a:solidFill>
                <a:srgbClr val="595959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79" name="Google Shape;79;p16"/>
          <p:cNvSpPr txBox="1"/>
          <p:nvPr/>
        </p:nvSpPr>
        <p:spPr>
          <a:xfrm>
            <a:off x="202096" y="-57400"/>
            <a:ext cx="8952900" cy="113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5000">
                <a:solidFill>
                  <a:srgbClr val="073763"/>
                </a:solidFill>
                <a:latin typeface="Proxima Nova"/>
                <a:ea typeface="Proxima Nova"/>
                <a:cs typeface="Proxima Nova"/>
                <a:sym typeface="Proxima Nova"/>
              </a:rPr>
              <a:t>Additional Resources</a:t>
            </a:r>
            <a:endParaRPr sz="2700">
              <a:solidFill>
                <a:srgbClr val="073763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80" name="Google Shape;80;p16"/>
          <p:cNvSpPr/>
          <p:nvPr/>
        </p:nvSpPr>
        <p:spPr>
          <a:xfrm>
            <a:off x="345775" y="849350"/>
            <a:ext cx="2426400" cy="140700"/>
          </a:xfrm>
          <a:prstGeom prst="rect">
            <a:avLst/>
          </a:prstGeom>
          <a:solidFill>
            <a:srgbClr val="85200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" name="Picture 2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C50C54F7-52F2-4262-99D3-8332D71D511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51064"/>
          <a:stretch/>
        </p:blipFill>
        <p:spPr>
          <a:xfrm>
            <a:off x="2010149" y="2876574"/>
            <a:ext cx="4857443" cy="2045899"/>
          </a:xfrm>
          <a:prstGeom prst="rect">
            <a:avLst/>
          </a:prstGeom>
          <a:ln>
            <a:solidFill>
              <a:srgbClr val="073763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6A05D40-87B6-4CCB-91E9-C0E246D4CF97}"/>
              </a:ext>
            </a:extLst>
          </p:cNvPr>
          <p:cNvSpPr/>
          <p:nvPr/>
        </p:nvSpPr>
        <p:spPr>
          <a:xfrm>
            <a:off x="3574474" y="3919770"/>
            <a:ext cx="645835" cy="16625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99114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Google Shape;77;p16"/>
          <p:cNvPicPr preferRelativeResize="0"/>
          <p:nvPr/>
        </p:nvPicPr>
        <p:blipFill>
          <a:blip r:embed="rId3">
            <a:alphaModFix amt="21000"/>
          </a:blip>
          <a:stretch>
            <a:fillRect/>
          </a:stretch>
        </p:blipFill>
        <p:spPr>
          <a:xfrm rot="5400000">
            <a:off x="1125174" y="-682800"/>
            <a:ext cx="5827776" cy="7193376"/>
          </a:xfrm>
          <a:prstGeom prst="rect">
            <a:avLst/>
          </a:prstGeom>
          <a:noFill/>
          <a:ln>
            <a:noFill/>
          </a:ln>
        </p:spPr>
      </p:pic>
      <p:sp>
        <p:nvSpPr>
          <p:cNvPr id="78" name="Google Shape;78;p16"/>
          <p:cNvSpPr txBox="1">
            <a:spLocks noGrp="1"/>
          </p:cNvSpPr>
          <p:nvPr>
            <p:ph type="body" idx="1"/>
          </p:nvPr>
        </p:nvSpPr>
        <p:spPr>
          <a:xfrm>
            <a:off x="311700" y="1304875"/>
            <a:ext cx="8520600" cy="3416400"/>
          </a:xfrm>
          <a:prstGeom prst="rect">
            <a:avLst/>
          </a:prstGeom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>
              <a:spcAft>
                <a:spcPts val="1600"/>
              </a:spcAft>
            </a:pPr>
            <a:r>
              <a:rPr lang="en-SG">
                <a:latin typeface="Roboto"/>
                <a:ea typeface="Roboto"/>
                <a:cs typeface="Roboto"/>
                <a:sym typeface="Roboto"/>
              </a:rPr>
              <a:t>Google Collab: </a:t>
            </a:r>
            <a:r>
              <a:rPr lang="en-SG">
                <a:solidFill>
                  <a:srgbClr val="073763"/>
                </a:solidFill>
                <a:latin typeface="Roboto"/>
                <a:ea typeface="Roboto"/>
                <a:cs typeface="Roboto"/>
                <a:sym typeface="Roboto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endParaRPr lang="en-SG">
              <a:solidFill>
                <a:srgbClr val="073763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285750" indent="-285750">
              <a:spcAft>
                <a:spcPts val="1600"/>
              </a:spcAft>
            </a:pPr>
            <a:r>
              <a:rPr lang="en-SG">
                <a:latin typeface="Roboto"/>
                <a:ea typeface="Roboto"/>
                <a:cs typeface="Roboto"/>
                <a:sym typeface="Roboto"/>
              </a:rPr>
              <a:t>New Python 3 notebook</a:t>
            </a:r>
          </a:p>
          <a:p>
            <a:pPr marL="285750" indent="-285750">
              <a:spcAft>
                <a:spcPts val="1600"/>
              </a:spcAft>
            </a:pPr>
            <a:r>
              <a:rPr lang="en-SG">
                <a:latin typeface="Roboto"/>
                <a:ea typeface="Roboto"/>
                <a:cs typeface="Roboto"/>
                <a:sym typeface="Roboto"/>
              </a:rPr>
              <a:t>Allows for </a:t>
            </a:r>
            <a:r>
              <a:rPr lang="en-SG" b="1">
                <a:latin typeface="Roboto"/>
                <a:ea typeface="Roboto"/>
                <a:cs typeface="Roboto"/>
                <a:sym typeface="Roboto"/>
              </a:rPr>
              <a:t>note-taking</a:t>
            </a:r>
            <a:endParaRPr lang="en-SG">
              <a:latin typeface="Roboto"/>
              <a:ea typeface="Roboto"/>
              <a:cs typeface="Roboto"/>
              <a:sym typeface="Roboto"/>
            </a:endParaRPr>
          </a:p>
          <a:p>
            <a:pPr marL="285750" indent="-285750">
              <a:spcAft>
                <a:spcPts val="1600"/>
              </a:spcAft>
            </a:pPr>
            <a:r>
              <a:rPr lang="en-SG">
                <a:latin typeface="Roboto"/>
                <a:ea typeface="Roboto"/>
                <a:cs typeface="Roboto"/>
                <a:sym typeface="Roboto"/>
              </a:rPr>
              <a:t>Efficient running of programs</a:t>
            </a:r>
          </a:p>
          <a:p>
            <a:pPr marL="285750" indent="-285750">
              <a:spcAft>
                <a:spcPts val="1600"/>
              </a:spcAft>
            </a:pPr>
            <a:r>
              <a:rPr lang="en-SG">
                <a:latin typeface="Roboto"/>
                <a:ea typeface="Roboto"/>
                <a:cs typeface="Roboto"/>
                <a:sym typeface="Roboto"/>
              </a:rPr>
              <a:t>In-built </a:t>
            </a:r>
            <a:r>
              <a:rPr lang="en-SG" b="1">
                <a:latin typeface="Roboto"/>
                <a:ea typeface="Roboto"/>
                <a:cs typeface="Roboto"/>
                <a:sym typeface="Roboto"/>
              </a:rPr>
              <a:t>libraries</a:t>
            </a:r>
          </a:p>
          <a:p>
            <a:pPr marL="285750" indent="-285750">
              <a:spcAft>
                <a:spcPts val="1600"/>
              </a:spcAft>
            </a:pPr>
            <a:endParaRPr lang="en-SG">
              <a:latin typeface="Roboto"/>
              <a:ea typeface="Roboto"/>
              <a:cs typeface="Roboto"/>
              <a:sym typeface="Roboto"/>
            </a:endParaRPr>
          </a:p>
          <a:p>
            <a:pPr marL="285750" indent="-285750">
              <a:spcAft>
                <a:spcPts val="1600"/>
              </a:spcAft>
            </a:pPr>
            <a:endParaRPr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79" name="Google Shape;79;p16"/>
          <p:cNvSpPr txBox="1"/>
          <p:nvPr/>
        </p:nvSpPr>
        <p:spPr>
          <a:xfrm>
            <a:off x="202096" y="-57400"/>
            <a:ext cx="8952900" cy="113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5000">
                <a:solidFill>
                  <a:srgbClr val="073763"/>
                </a:solidFill>
                <a:latin typeface="Proxima Nova"/>
                <a:ea typeface="Proxima Nova"/>
                <a:cs typeface="Proxima Nova"/>
                <a:sym typeface="Proxima Nova"/>
              </a:rPr>
              <a:t>Programming Environment</a:t>
            </a:r>
            <a:endParaRPr sz="2700">
              <a:solidFill>
                <a:srgbClr val="073763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80" name="Google Shape;80;p16"/>
          <p:cNvSpPr/>
          <p:nvPr/>
        </p:nvSpPr>
        <p:spPr>
          <a:xfrm>
            <a:off x="345775" y="849350"/>
            <a:ext cx="2426400" cy="140700"/>
          </a:xfrm>
          <a:prstGeom prst="rect">
            <a:avLst/>
          </a:prstGeom>
          <a:solidFill>
            <a:srgbClr val="85200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" name="Picture 2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3257B624-3404-4F00-911D-05DE7DAFFB9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96052" y="1966686"/>
            <a:ext cx="5232847" cy="2428018"/>
          </a:xfrm>
          <a:prstGeom prst="rect">
            <a:avLst/>
          </a:prstGeom>
          <a:ln>
            <a:solidFill>
              <a:srgbClr val="07376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9414262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7" name="Google Shape;197;p27"/>
          <p:cNvPicPr preferRelativeResize="0"/>
          <p:nvPr/>
        </p:nvPicPr>
        <p:blipFill>
          <a:blip r:embed="rId4">
            <a:alphaModFix amt="48000"/>
          </a:blip>
          <a:stretch>
            <a:fillRect/>
          </a:stretch>
        </p:blipFill>
        <p:spPr>
          <a:xfrm rot="-5400000">
            <a:off x="2029525" y="-1878250"/>
            <a:ext cx="5701050" cy="8049399"/>
          </a:xfrm>
          <a:prstGeom prst="rect">
            <a:avLst/>
          </a:prstGeom>
          <a:noFill/>
          <a:ln>
            <a:noFill/>
          </a:ln>
        </p:spPr>
      </p:pic>
      <p:sp>
        <p:nvSpPr>
          <p:cNvPr id="198" name="Google Shape;198;p27"/>
          <p:cNvSpPr txBox="1"/>
          <p:nvPr/>
        </p:nvSpPr>
        <p:spPr>
          <a:xfrm>
            <a:off x="490963" y="884032"/>
            <a:ext cx="8162073" cy="10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" sz="4000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rPr>
              <a:t>Next steps: </a:t>
            </a:r>
            <a:r>
              <a:rPr lang="en-SG" sz="4000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rPr>
              <a:t>https://</a:t>
            </a:r>
            <a:r>
              <a:rPr lang="en-SG" sz="4000" err="1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rPr>
              <a:t>github.com</a:t>
            </a:r>
            <a:r>
              <a:rPr lang="en-SG" sz="4000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rPr>
              <a:t>/</a:t>
            </a:r>
            <a:r>
              <a:rPr lang="en-SG" sz="4000" err="1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rPr>
              <a:t>kjaisingh</a:t>
            </a:r>
            <a:r>
              <a:rPr lang="en-SG" sz="4000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rPr>
              <a:t>/AI-Penn</a:t>
            </a:r>
            <a:endParaRPr sz="4000">
              <a:solidFill>
                <a:schemeClr val="lt1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99" name="Google Shape;199;p27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87900" y="2018850"/>
            <a:ext cx="2859051" cy="2859051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Google Shape;77;p16"/>
          <p:cNvPicPr preferRelativeResize="0"/>
          <p:nvPr/>
        </p:nvPicPr>
        <p:blipFill>
          <a:blip r:embed="rId3">
            <a:alphaModFix amt="21000"/>
          </a:blip>
          <a:stretch>
            <a:fillRect/>
          </a:stretch>
        </p:blipFill>
        <p:spPr>
          <a:xfrm rot="5400000">
            <a:off x="1125174" y="-682800"/>
            <a:ext cx="5827776" cy="7193376"/>
          </a:xfrm>
          <a:prstGeom prst="rect">
            <a:avLst/>
          </a:prstGeom>
          <a:noFill/>
          <a:ln>
            <a:noFill/>
          </a:ln>
        </p:spPr>
      </p:pic>
      <p:sp>
        <p:nvSpPr>
          <p:cNvPr id="78" name="Google Shape;78;p16"/>
          <p:cNvSpPr txBox="1">
            <a:spLocks noGrp="1"/>
          </p:cNvSpPr>
          <p:nvPr>
            <p:ph type="body" idx="1"/>
          </p:nvPr>
        </p:nvSpPr>
        <p:spPr>
          <a:xfrm>
            <a:off x="311699" y="1304875"/>
            <a:ext cx="4132413" cy="3416400"/>
          </a:xfrm>
          <a:prstGeom prst="rect">
            <a:avLst/>
          </a:prstGeom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>
              <a:lnSpc>
                <a:spcPct val="114000"/>
              </a:lnSpc>
            </a:pPr>
            <a:r>
              <a:rPr lang="en-US">
                <a:latin typeface="Roboto"/>
                <a:ea typeface="Roboto"/>
                <a:cs typeface="Roboto"/>
                <a:sym typeface="Roboto"/>
              </a:rPr>
              <a:t>Optimization</a:t>
            </a:r>
          </a:p>
          <a:p>
            <a:pPr marL="742950" lvl="1" indent="-285750">
              <a:lnSpc>
                <a:spcPct val="114000"/>
              </a:lnSpc>
              <a:spcBef>
                <a:spcPts val="0"/>
              </a:spcBef>
            </a:pPr>
            <a:r>
              <a:rPr lang="en-US" sz="1800">
                <a:latin typeface="Roboto"/>
                <a:ea typeface="Roboto"/>
                <a:cs typeface="Roboto"/>
                <a:sym typeface="Roboto"/>
              </a:rPr>
              <a:t>Model performance is </a:t>
            </a:r>
            <a:r>
              <a:rPr lang="en-US" sz="1800" b="1">
                <a:latin typeface="Roboto"/>
                <a:ea typeface="Roboto"/>
                <a:cs typeface="Roboto"/>
                <a:sym typeface="Roboto"/>
              </a:rPr>
              <a:t>very subjective</a:t>
            </a:r>
            <a:r>
              <a:rPr lang="en-US" sz="1800">
                <a:latin typeface="Roboto"/>
                <a:ea typeface="Roboto"/>
                <a:cs typeface="Roboto"/>
                <a:sym typeface="Roboto"/>
              </a:rPr>
              <a:t> compared to other types of machine learning algorithms</a:t>
            </a:r>
          </a:p>
          <a:p>
            <a:pPr marL="742950" lvl="1" indent="-285750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800">
                <a:latin typeface="Roboto"/>
                <a:ea typeface="Roboto"/>
                <a:cs typeface="Roboto"/>
                <a:sym typeface="Roboto"/>
              </a:rPr>
              <a:t>Metric of evaluation is chosen on a </a:t>
            </a:r>
            <a:r>
              <a:rPr lang="en-US" sz="1800" b="1">
                <a:latin typeface="Roboto"/>
                <a:ea typeface="Roboto"/>
                <a:cs typeface="Roboto"/>
                <a:sym typeface="Roboto"/>
              </a:rPr>
              <a:t>project-by-project</a:t>
            </a:r>
            <a:r>
              <a:rPr lang="en-US" sz="1800">
                <a:latin typeface="Roboto"/>
                <a:ea typeface="Roboto"/>
                <a:cs typeface="Roboto"/>
                <a:sym typeface="Roboto"/>
              </a:rPr>
              <a:t> basis</a:t>
            </a:r>
          </a:p>
          <a:p>
            <a:pPr marL="285750" indent="-285750">
              <a:lnSpc>
                <a:spcPct val="114000"/>
              </a:lnSpc>
            </a:pPr>
            <a:r>
              <a:rPr lang="en-US">
                <a:latin typeface="Roboto"/>
                <a:ea typeface="Roboto"/>
                <a:cs typeface="Roboto"/>
                <a:sym typeface="Roboto"/>
              </a:rPr>
              <a:t>Minutes of retention (YouTube)</a:t>
            </a:r>
          </a:p>
          <a:p>
            <a:pPr marL="285750" indent="-285750">
              <a:lnSpc>
                <a:spcPct val="114000"/>
              </a:lnSpc>
            </a:pPr>
            <a:r>
              <a:rPr lang="en-SG">
                <a:latin typeface="Roboto"/>
                <a:ea typeface="Roboto"/>
                <a:cs typeface="Roboto"/>
                <a:sym typeface="Roboto"/>
              </a:rPr>
              <a:t>Amount spent (Amazon)</a:t>
            </a:r>
          </a:p>
          <a:p>
            <a:pPr marL="285750" indent="-285750">
              <a:lnSpc>
                <a:spcPct val="114000"/>
              </a:lnSpc>
              <a:spcAft>
                <a:spcPts val="1200"/>
              </a:spcAft>
            </a:pPr>
            <a:r>
              <a:rPr lang="en-SG">
                <a:latin typeface="Roboto"/>
                <a:ea typeface="Roboto"/>
                <a:cs typeface="Roboto"/>
                <a:sym typeface="Roboto"/>
              </a:rPr>
              <a:t># of paid subscribers (Netflix)</a:t>
            </a:r>
          </a:p>
          <a:p>
            <a:pPr marL="742950" lvl="1" indent="-285750">
              <a:spcAft>
                <a:spcPts val="1600"/>
              </a:spcAft>
            </a:pPr>
            <a:endParaRPr lang="en-SG" sz="18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79" name="Google Shape;79;p16"/>
          <p:cNvSpPr txBox="1"/>
          <p:nvPr/>
        </p:nvSpPr>
        <p:spPr>
          <a:xfrm>
            <a:off x="202095" y="-57400"/>
            <a:ext cx="9152919" cy="113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5000">
                <a:solidFill>
                  <a:srgbClr val="073763"/>
                </a:solidFill>
                <a:latin typeface="Proxima Nova"/>
                <a:ea typeface="Proxima Nova"/>
                <a:cs typeface="Proxima Nova"/>
                <a:sym typeface="Proxima Nova"/>
              </a:rPr>
              <a:t>What are Recommender Systems?</a:t>
            </a:r>
            <a:endParaRPr sz="2700">
              <a:solidFill>
                <a:srgbClr val="073763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80" name="Google Shape;80;p16"/>
          <p:cNvSpPr/>
          <p:nvPr/>
        </p:nvSpPr>
        <p:spPr>
          <a:xfrm>
            <a:off x="345775" y="849350"/>
            <a:ext cx="2426400" cy="140700"/>
          </a:xfrm>
          <a:prstGeom prst="rect">
            <a:avLst/>
          </a:prstGeom>
          <a:solidFill>
            <a:srgbClr val="85200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1924D6D5-A137-44C5-ACA5-4F279E0579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66848800"/>
              </p:ext>
            </p:extLst>
          </p:nvPr>
        </p:nvGraphicFramePr>
        <p:xfrm>
          <a:off x="4204829" y="1297831"/>
          <a:ext cx="4950167" cy="3416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9188565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E3EA7DC-40D6-4E41-BBAC-E54149B37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990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5" imgW="262" imgH="262" progId="TCLayout.ActiveDocument.1">
                  <p:embed/>
                </p:oleObj>
              </mc:Choice>
              <mc:Fallback>
                <p:oleObj name="think-cell Slide" r:id="rId5" imgW="262" imgH="26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E3EA7DC-40D6-4E41-BBAC-E54149B37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7" name="Google Shape;77;p16"/>
          <p:cNvPicPr preferRelativeResize="0"/>
          <p:nvPr/>
        </p:nvPicPr>
        <p:blipFill>
          <a:blip r:embed="rId7">
            <a:alphaModFix amt="21000"/>
          </a:blip>
          <a:stretch>
            <a:fillRect/>
          </a:stretch>
        </p:blipFill>
        <p:spPr>
          <a:xfrm rot="5400000">
            <a:off x="1125174" y="-682800"/>
            <a:ext cx="5827776" cy="7193376"/>
          </a:xfrm>
          <a:prstGeom prst="rect">
            <a:avLst/>
          </a:prstGeom>
          <a:noFill/>
          <a:ln>
            <a:noFill/>
          </a:ln>
        </p:spPr>
      </p:pic>
      <p:sp>
        <p:nvSpPr>
          <p:cNvPr id="78" name="Google Shape;78;p16"/>
          <p:cNvSpPr txBox="1">
            <a:spLocks noGrp="1"/>
          </p:cNvSpPr>
          <p:nvPr>
            <p:ph type="body" idx="1"/>
          </p:nvPr>
        </p:nvSpPr>
        <p:spPr>
          <a:xfrm>
            <a:off x="311700" y="1304875"/>
            <a:ext cx="8520600" cy="3416400"/>
          </a:xfrm>
          <a:prstGeom prst="rect">
            <a:avLst/>
          </a:prstGeom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en-SG">
                <a:latin typeface="Roboto" panose="020B0604020202020204" charset="0"/>
                <a:ea typeface="Roboto"/>
                <a:cs typeface="Roboto" panose="020B0604020202020204" charset="0"/>
                <a:sym typeface="Roboto"/>
              </a:rPr>
              <a:t>Stay Notified About: </a:t>
            </a:r>
          </a:p>
          <a:p>
            <a:pPr marL="742950" lvl="1" indent="-285750">
              <a:spcBef>
                <a:spcPts val="0"/>
              </a:spcBef>
            </a:pPr>
            <a:r>
              <a:rPr lang="en-SG" sz="1800">
                <a:latin typeface="Roboto" panose="020B0604020202020204" charset="0"/>
                <a:ea typeface="Roboto"/>
                <a:cs typeface="Roboto" panose="020B0604020202020204" charset="0"/>
                <a:sym typeface="Roboto"/>
              </a:rPr>
              <a:t>Educational </a:t>
            </a:r>
            <a:r>
              <a:rPr lang="en-SG" sz="1800" b="1">
                <a:latin typeface="Roboto" panose="020B0604020202020204" charset="0"/>
                <a:ea typeface="Roboto"/>
                <a:cs typeface="Roboto" panose="020B0604020202020204" charset="0"/>
                <a:sym typeface="Roboto"/>
              </a:rPr>
              <a:t>workshops</a:t>
            </a:r>
            <a:r>
              <a:rPr lang="en-SG" sz="1800">
                <a:latin typeface="Roboto" panose="020B0604020202020204" charset="0"/>
                <a:ea typeface="Roboto"/>
                <a:cs typeface="Roboto" panose="020B0604020202020204" charset="0"/>
                <a:sym typeface="Roboto"/>
              </a:rPr>
              <a:t> about machine learning and artificial intelligence</a:t>
            </a:r>
          </a:p>
          <a:p>
            <a:pPr marL="742950" lvl="1" indent="-285750">
              <a:spcBef>
                <a:spcPts val="0"/>
              </a:spcBef>
            </a:pPr>
            <a:r>
              <a:rPr lang="en-SG" sz="1800">
                <a:latin typeface="Roboto" panose="020B0604020202020204" charset="0"/>
                <a:ea typeface="Roboto"/>
                <a:cs typeface="Roboto" panose="020B0604020202020204" charset="0"/>
                <a:sym typeface="Roboto"/>
              </a:rPr>
              <a:t>Guest </a:t>
            </a:r>
            <a:r>
              <a:rPr lang="en-SG" sz="1800" b="1">
                <a:latin typeface="Roboto" panose="020B0604020202020204" charset="0"/>
                <a:ea typeface="Roboto"/>
                <a:cs typeface="Roboto" panose="020B0604020202020204" charset="0"/>
                <a:sym typeface="Roboto"/>
              </a:rPr>
              <a:t>speakers</a:t>
            </a:r>
            <a:r>
              <a:rPr lang="en-SG" sz="1800">
                <a:latin typeface="Roboto" panose="020B0604020202020204" charset="0"/>
                <a:ea typeface="Roboto"/>
                <a:cs typeface="Roboto" panose="020B0604020202020204" charset="0"/>
                <a:sym typeface="Roboto"/>
              </a:rPr>
              <a:t> from a wide range of industries and companies</a:t>
            </a:r>
          </a:p>
          <a:p>
            <a:pPr marL="742950" lvl="1" indent="-285750">
              <a:spcBef>
                <a:spcPts val="0"/>
              </a:spcBef>
            </a:pPr>
            <a:r>
              <a:rPr lang="en-SG" sz="1800">
                <a:latin typeface="Roboto" panose="020B0604020202020204" charset="0"/>
                <a:ea typeface="Roboto"/>
                <a:cs typeface="Roboto" panose="020B0604020202020204" charset="0"/>
                <a:sym typeface="Roboto"/>
              </a:rPr>
              <a:t>Events (more cool AI@Penn </a:t>
            </a:r>
            <a:r>
              <a:rPr lang="en-SG" sz="1800" b="1">
                <a:latin typeface="Roboto" panose="020B0604020202020204" charset="0"/>
                <a:ea typeface="Roboto"/>
                <a:cs typeface="Roboto" panose="020B0604020202020204" charset="0"/>
                <a:sym typeface="Roboto"/>
              </a:rPr>
              <a:t>datathons</a:t>
            </a:r>
            <a:r>
              <a:rPr lang="en-SG" sz="1800">
                <a:latin typeface="Roboto" panose="020B0604020202020204" charset="0"/>
                <a:ea typeface="Roboto"/>
                <a:cs typeface="Roboto" panose="020B0604020202020204" charset="0"/>
                <a:sym typeface="Roboto"/>
              </a:rPr>
              <a:t>???)</a:t>
            </a:r>
          </a:p>
          <a:p>
            <a:pPr marL="457200" lvl="1" indent="0">
              <a:spcBef>
                <a:spcPts val="0"/>
              </a:spcBef>
              <a:buNone/>
            </a:pPr>
            <a:endParaRPr lang="en-SG" sz="1800">
              <a:solidFill>
                <a:srgbClr val="0097A7"/>
              </a:solidFill>
              <a:latin typeface="Roboto" panose="020B0604020202020204" charset="0"/>
              <a:ea typeface="Roboto"/>
              <a:cs typeface="Roboto" panose="020B0604020202020204" charset="0"/>
              <a:sym typeface="Roboto"/>
              <a:hlinkClick r:id="rId8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indent="0" algn="ctr">
              <a:spcAft>
                <a:spcPts val="1600"/>
              </a:spcAft>
              <a:buNone/>
            </a:pPr>
            <a:r>
              <a:rPr lang="en-SG" sz="4200">
                <a:solidFill>
                  <a:srgbClr val="85200C"/>
                </a:solidFill>
                <a:latin typeface="Roboto" panose="020B0604020202020204" charset="0"/>
                <a:ea typeface="Roboto"/>
                <a:cs typeface="Roboto" panose="020B0604020202020204" charset="0"/>
                <a:sym typeface="Roboto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rms.gle/</a:t>
            </a:r>
            <a:r>
              <a:rPr lang="en-SG" sz="4200">
                <a:solidFill>
                  <a:srgbClr val="073763"/>
                </a:solidFill>
                <a:latin typeface="Roboto" panose="020B0604020202020204" charset="0"/>
                <a:ea typeface="Roboto"/>
                <a:cs typeface="Roboto" panose="020B0604020202020204" charset="0"/>
                <a:sym typeface="Roboto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sBLF5cApFisAv4g8</a:t>
            </a:r>
            <a:endParaRPr lang="en-SG" sz="4200">
              <a:solidFill>
                <a:srgbClr val="073763"/>
              </a:solidFill>
              <a:latin typeface="Roboto" panose="020B0604020202020204" charset="0"/>
              <a:ea typeface="Roboto"/>
              <a:cs typeface="Roboto" panose="020B0604020202020204" charset="0"/>
              <a:sym typeface="Roboto"/>
            </a:endParaRPr>
          </a:p>
        </p:txBody>
      </p:sp>
      <p:sp>
        <p:nvSpPr>
          <p:cNvPr id="79" name="Google Shape;79;p16"/>
          <p:cNvSpPr txBox="1"/>
          <p:nvPr/>
        </p:nvSpPr>
        <p:spPr>
          <a:xfrm>
            <a:off x="202096" y="-57400"/>
            <a:ext cx="8952900" cy="113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5000">
                <a:solidFill>
                  <a:srgbClr val="073763"/>
                </a:solidFill>
                <a:latin typeface="Proxima Nova"/>
                <a:ea typeface="Proxima Nova"/>
                <a:cs typeface="Proxima Nova"/>
                <a:sym typeface="Proxima Nova"/>
              </a:rPr>
              <a:t>Quick Note</a:t>
            </a:r>
            <a:endParaRPr sz="2700">
              <a:solidFill>
                <a:srgbClr val="073763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80" name="Google Shape;80;p16"/>
          <p:cNvSpPr/>
          <p:nvPr/>
        </p:nvSpPr>
        <p:spPr>
          <a:xfrm>
            <a:off x="345775" y="849350"/>
            <a:ext cx="2426400" cy="140700"/>
          </a:xfrm>
          <a:prstGeom prst="rect">
            <a:avLst/>
          </a:prstGeom>
          <a:solidFill>
            <a:srgbClr val="85200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770463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Google Shape;77;p16"/>
          <p:cNvPicPr preferRelativeResize="0"/>
          <p:nvPr/>
        </p:nvPicPr>
        <p:blipFill>
          <a:blip r:embed="rId3">
            <a:alphaModFix amt="21000"/>
          </a:blip>
          <a:stretch>
            <a:fillRect/>
          </a:stretch>
        </p:blipFill>
        <p:spPr>
          <a:xfrm rot="5400000">
            <a:off x="1125174" y="-682800"/>
            <a:ext cx="5827776" cy="7193376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44D075B4-D369-473F-8040-FAA59DB050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9339965"/>
              </p:ext>
            </p:extLst>
          </p:nvPr>
        </p:nvGraphicFramePr>
        <p:xfrm>
          <a:off x="311700" y="1001215"/>
          <a:ext cx="8520600" cy="38457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79" name="Google Shape;79;p16"/>
          <p:cNvSpPr txBox="1"/>
          <p:nvPr/>
        </p:nvSpPr>
        <p:spPr>
          <a:xfrm>
            <a:off x="202096" y="-57400"/>
            <a:ext cx="8952900" cy="113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5000">
                <a:solidFill>
                  <a:srgbClr val="073763"/>
                </a:solidFill>
                <a:latin typeface="Proxima Nova"/>
                <a:ea typeface="Proxima Nova"/>
                <a:cs typeface="Proxima Nova"/>
                <a:sym typeface="Proxima Nova"/>
              </a:rPr>
              <a:t>Today’s Plan</a:t>
            </a:r>
            <a:endParaRPr sz="2700">
              <a:solidFill>
                <a:srgbClr val="073763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80" name="Google Shape;80;p16"/>
          <p:cNvSpPr/>
          <p:nvPr/>
        </p:nvSpPr>
        <p:spPr>
          <a:xfrm>
            <a:off x="345775" y="849350"/>
            <a:ext cx="2426400" cy="140700"/>
          </a:xfrm>
          <a:prstGeom prst="rect">
            <a:avLst/>
          </a:prstGeom>
          <a:solidFill>
            <a:srgbClr val="85200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222788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Google Shape;77;p16"/>
          <p:cNvPicPr preferRelativeResize="0"/>
          <p:nvPr/>
        </p:nvPicPr>
        <p:blipFill>
          <a:blip r:embed="rId3">
            <a:alphaModFix amt="21000"/>
          </a:blip>
          <a:stretch>
            <a:fillRect/>
          </a:stretch>
        </p:blipFill>
        <p:spPr>
          <a:xfrm rot="5400000">
            <a:off x="1125174" y="-682800"/>
            <a:ext cx="5827776" cy="7193376"/>
          </a:xfrm>
          <a:prstGeom prst="rect">
            <a:avLst/>
          </a:prstGeom>
          <a:noFill/>
          <a:ln>
            <a:noFill/>
          </a:ln>
        </p:spPr>
      </p:pic>
      <p:sp>
        <p:nvSpPr>
          <p:cNvPr id="78" name="Google Shape;78;p16"/>
          <p:cNvSpPr txBox="1">
            <a:spLocks noGrp="1"/>
          </p:cNvSpPr>
          <p:nvPr>
            <p:ph type="body" idx="1"/>
          </p:nvPr>
        </p:nvSpPr>
        <p:spPr>
          <a:xfrm>
            <a:off x="311700" y="1304875"/>
            <a:ext cx="4138806" cy="3416400"/>
          </a:xfrm>
          <a:prstGeom prst="rect">
            <a:avLst/>
          </a:prstGeom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en-SG">
                <a:latin typeface="Roboto"/>
                <a:ea typeface="Roboto"/>
                <a:cs typeface="Roboto"/>
                <a:sym typeface="Roboto"/>
              </a:rPr>
              <a:t>Inputs:</a:t>
            </a:r>
          </a:p>
          <a:p>
            <a:pPr marL="742950" lvl="1" indent="-285750">
              <a:spcBef>
                <a:spcPts val="0"/>
              </a:spcBef>
            </a:pPr>
            <a:r>
              <a:rPr lang="en-SG" sz="1800">
                <a:latin typeface="Roboto"/>
                <a:ea typeface="Roboto"/>
                <a:cs typeface="Roboto"/>
                <a:sym typeface="Roboto"/>
              </a:rPr>
              <a:t>Database of </a:t>
            </a:r>
            <a:r>
              <a:rPr lang="en-SG" sz="1800" b="1">
                <a:latin typeface="Roboto"/>
                <a:ea typeface="Roboto"/>
                <a:cs typeface="Roboto"/>
                <a:sym typeface="Roboto"/>
              </a:rPr>
              <a:t>content</a:t>
            </a:r>
          </a:p>
          <a:p>
            <a:pPr marL="742950" lvl="1" indent="-285750">
              <a:spcBef>
                <a:spcPts val="0"/>
              </a:spcBef>
              <a:spcAft>
                <a:spcPts val="1200"/>
              </a:spcAft>
            </a:pPr>
            <a:r>
              <a:rPr lang="en-SG" sz="1800">
                <a:latin typeface="Roboto"/>
                <a:ea typeface="Roboto"/>
                <a:cs typeface="Roboto"/>
                <a:sym typeface="Roboto"/>
              </a:rPr>
              <a:t>Population of </a:t>
            </a:r>
            <a:r>
              <a:rPr lang="en-SG" sz="1800" b="1">
                <a:latin typeface="Roboto"/>
                <a:ea typeface="Roboto"/>
                <a:cs typeface="Roboto"/>
                <a:sym typeface="Roboto"/>
              </a:rPr>
              <a:t>users</a:t>
            </a:r>
          </a:p>
          <a:p>
            <a:pPr marL="285750" indent="-285750">
              <a:spcBef>
                <a:spcPts val="1200"/>
              </a:spcBef>
            </a:pPr>
            <a:r>
              <a:rPr lang="en-SG">
                <a:latin typeface="Roboto"/>
                <a:ea typeface="Roboto"/>
                <a:cs typeface="Roboto"/>
                <a:sym typeface="Roboto"/>
              </a:rPr>
              <a:t>Outputs:</a:t>
            </a:r>
          </a:p>
          <a:p>
            <a:pPr marL="742950" lvl="1" indent="-285750">
              <a:spcBef>
                <a:spcPts val="0"/>
              </a:spcBef>
            </a:pPr>
            <a:r>
              <a:rPr lang="en-SG" sz="1800">
                <a:latin typeface="Roboto"/>
                <a:ea typeface="Roboto"/>
                <a:cs typeface="Roboto"/>
                <a:sym typeface="Roboto"/>
              </a:rPr>
              <a:t>Match the most </a:t>
            </a:r>
            <a:r>
              <a:rPr lang="en-SG" sz="1800" b="1">
                <a:latin typeface="Roboto"/>
                <a:ea typeface="Roboto"/>
                <a:cs typeface="Roboto"/>
                <a:sym typeface="Roboto"/>
              </a:rPr>
              <a:t>effective</a:t>
            </a:r>
            <a:r>
              <a:rPr lang="en-SG" sz="1800">
                <a:latin typeface="Roboto"/>
                <a:ea typeface="Roboto"/>
                <a:cs typeface="Roboto"/>
                <a:sym typeface="Roboto"/>
              </a:rPr>
              <a:t> content with each user</a:t>
            </a:r>
          </a:p>
          <a:p>
            <a:pPr marL="742950" lvl="1" indent="-285750">
              <a:spcBef>
                <a:spcPts val="0"/>
              </a:spcBef>
              <a:spcAft>
                <a:spcPts val="1200"/>
              </a:spcAft>
            </a:pPr>
            <a:r>
              <a:rPr lang="en-SG" sz="1800">
                <a:latin typeface="Roboto"/>
                <a:ea typeface="Roboto"/>
                <a:cs typeface="Roboto"/>
                <a:sym typeface="Roboto"/>
              </a:rPr>
              <a:t>Model certainty (similarity score)</a:t>
            </a:r>
          </a:p>
          <a:p>
            <a:pPr marL="285750" indent="-285750">
              <a:spcBef>
                <a:spcPts val="1200"/>
              </a:spcBef>
            </a:pPr>
            <a:r>
              <a:rPr lang="en-SG">
                <a:latin typeface="Roboto"/>
                <a:ea typeface="Roboto"/>
                <a:cs typeface="Roboto"/>
                <a:sym typeface="Roboto"/>
              </a:rPr>
              <a:t>Maximize a metric of evaluation</a:t>
            </a:r>
          </a:p>
          <a:p>
            <a:pPr marL="742950" lvl="1" indent="-285750">
              <a:spcAft>
                <a:spcPts val="1600"/>
              </a:spcAft>
            </a:pPr>
            <a:endParaRPr lang="en-SG" sz="18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79" name="Google Shape;79;p16"/>
          <p:cNvSpPr txBox="1"/>
          <p:nvPr/>
        </p:nvSpPr>
        <p:spPr>
          <a:xfrm>
            <a:off x="202095" y="-57400"/>
            <a:ext cx="9140131" cy="113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5000">
                <a:solidFill>
                  <a:srgbClr val="073763"/>
                </a:solidFill>
                <a:latin typeface="Proxima Nova"/>
                <a:ea typeface="Proxima Nova"/>
                <a:cs typeface="Proxima Nova"/>
                <a:sym typeface="Proxima Nova"/>
              </a:rPr>
              <a:t>What are Recommender Systems?</a:t>
            </a:r>
            <a:endParaRPr sz="2700">
              <a:solidFill>
                <a:srgbClr val="073763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80" name="Google Shape;80;p16"/>
          <p:cNvSpPr/>
          <p:nvPr/>
        </p:nvSpPr>
        <p:spPr>
          <a:xfrm>
            <a:off x="345775" y="849350"/>
            <a:ext cx="2426400" cy="140700"/>
          </a:xfrm>
          <a:prstGeom prst="rect">
            <a:avLst/>
          </a:prstGeom>
          <a:solidFill>
            <a:srgbClr val="85200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C43E2FC4-5193-4EAD-A546-4132FE1B10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1951001"/>
              </p:ext>
            </p:extLst>
          </p:nvPr>
        </p:nvGraphicFramePr>
        <p:xfrm>
          <a:off x="4204829" y="1297831"/>
          <a:ext cx="4950167" cy="3416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7" name="Google Shape;78;p16">
            <a:extLst>
              <a:ext uri="{FF2B5EF4-FFF2-40B4-BE49-F238E27FC236}">
                <a16:creationId xmlns:a16="http://schemas.microsoft.com/office/drawing/2014/main" id="{F6FD1DB9-607F-4733-AFE7-246DB7CB2289}"/>
              </a:ext>
            </a:extLst>
          </p:cNvPr>
          <p:cNvSpPr txBox="1">
            <a:spLocks/>
          </p:cNvSpPr>
          <p:nvPr/>
        </p:nvSpPr>
        <p:spPr>
          <a:xfrm>
            <a:off x="311699" y="1304875"/>
            <a:ext cx="4132413" cy="34164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14000"/>
              </a:lnSpc>
            </a:pPr>
            <a:r>
              <a:rPr lang="en-US">
                <a:latin typeface="Roboto"/>
                <a:ea typeface="Roboto"/>
                <a:cs typeface="Roboto"/>
                <a:sym typeface="Roboto"/>
              </a:rPr>
              <a:t>Optimization</a:t>
            </a:r>
          </a:p>
          <a:p>
            <a:pPr marL="742950" lvl="1" indent="-285750">
              <a:lnSpc>
                <a:spcPct val="114000"/>
              </a:lnSpc>
              <a:spcBef>
                <a:spcPts val="0"/>
              </a:spcBef>
            </a:pPr>
            <a:r>
              <a:rPr lang="en-US" sz="1800">
                <a:latin typeface="Roboto"/>
                <a:ea typeface="Roboto"/>
                <a:cs typeface="Roboto"/>
                <a:sym typeface="Roboto"/>
              </a:rPr>
              <a:t>Model performance is </a:t>
            </a:r>
            <a:r>
              <a:rPr lang="en-US" sz="1800" b="1">
                <a:latin typeface="Roboto"/>
                <a:ea typeface="Roboto"/>
                <a:cs typeface="Roboto"/>
                <a:sym typeface="Roboto"/>
              </a:rPr>
              <a:t>very subjective</a:t>
            </a:r>
            <a:r>
              <a:rPr lang="en-US" sz="1800">
                <a:latin typeface="Roboto"/>
                <a:ea typeface="Roboto"/>
                <a:cs typeface="Roboto"/>
                <a:sym typeface="Roboto"/>
              </a:rPr>
              <a:t> compared to other types of machine learning algorithms</a:t>
            </a:r>
          </a:p>
          <a:p>
            <a:pPr marL="742950" lvl="1" indent="-285750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800">
                <a:latin typeface="Roboto"/>
                <a:ea typeface="Roboto"/>
                <a:cs typeface="Roboto"/>
                <a:sym typeface="Roboto"/>
              </a:rPr>
              <a:t>Metric of evaluation is chosen on a </a:t>
            </a:r>
            <a:r>
              <a:rPr lang="en-US" sz="1800" b="1">
                <a:latin typeface="Roboto"/>
                <a:ea typeface="Roboto"/>
                <a:cs typeface="Roboto"/>
                <a:sym typeface="Roboto"/>
              </a:rPr>
              <a:t>project-by-project</a:t>
            </a:r>
            <a:r>
              <a:rPr lang="en-US" sz="1800">
                <a:latin typeface="Roboto"/>
                <a:ea typeface="Roboto"/>
                <a:cs typeface="Roboto"/>
                <a:sym typeface="Roboto"/>
              </a:rPr>
              <a:t> basis</a:t>
            </a:r>
          </a:p>
          <a:p>
            <a:pPr marL="285750" indent="-285750">
              <a:lnSpc>
                <a:spcPct val="114000"/>
              </a:lnSpc>
            </a:pPr>
            <a:r>
              <a:rPr lang="en-US">
                <a:latin typeface="Roboto"/>
                <a:ea typeface="Roboto"/>
                <a:cs typeface="Roboto"/>
                <a:sym typeface="Roboto"/>
              </a:rPr>
              <a:t>Minutes of retention (YouTube)</a:t>
            </a:r>
          </a:p>
          <a:p>
            <a:pPr marL="285750" indent="-285750">
              <a:lnSpc>
                <a:spcPct val="114000"/>
              </a:lnSpc>
            </a:pPr>
            <a:r>
              <a:rPr lang="en-SG">
                <a:latin typeface="Roboto"/>
                <a:ea typeface="Roboto"/>
                <a:cs typeface="Roboto"/>
                <a:sym typeface="Roboto"/>
              </a:rPr>
              <a:t>Amount spent (Amazon)</a:t>
            </a:r>
          </a:p>
          <a:p>
            <a:pPr marL="285750" indent="-285750">
              <a:lnSpc>
                <a:spcPct val="114000"/>
              </a:lnSpc>
              <a:spcAft>
                <a:spcPts val="1200"/>
              </a:spcAft>
            </a:pPr>
            <a:r>
              <a:rPr lang="en-SG">
                <a:latin typeface="Roboto"/>
                <a:ea typeface="Roboto"/>
                <a:cs typeface="Roboto"/>
                <a:sym typeface="Roboto"/>
              </a:rPr>
              <a:t># of paid subscribers (Netflix)</a:t>
            </a:r>
          </a:p>
          <a:p>
            <a:pPr marL="742950" lvl="1" indent="-285750">
              <a:spcAft>
                <a:spcPts val="1600"/>
              </a:spcAft>
            </a:pPr>
            <a:endParaRPr lang="en-SG" sz="1800">
              <a:latin typeface="Roboto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932268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8" grpId="0" animBg="1"/>
      <p:bldP spid="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F2B9C90-0350-4F63-BD70-A785996D5F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2154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5" imgW="262" imgH="262" progId="TCLayout.ActiveDocument.1">
                  <p:embed/>
                </p:oleObj>
              </mc:Choice>
              <mc:Fallback>
                <p:oleObj name="think-cell Slide" r:id="rId5" imgW="262" imgH="262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F2B9C90-0350-4F63-BD70-A785996D5F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7" name="Google Shape;77;p16"/>
          <p:cNvPicPr preferRelativeResize="0"/>
          <p:nvPr/>
        </p:nvPicPr>
        <p:blipFill>
          <a:blip r:embed="rId7">
            <a:alphaModFix amt="21000"/>
          </a:blip>
          <a:stretch>
            <a:fillRect/>
          </a:stretch>
        </p:blipFill>
        <p:spPr>
          <a:xfrm rot="5400000">
            <a:off x="1125174" y="-682800"/>
            <a:ext cx="5827776" cy="7193376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469494BB-DEBA-4B15-8E31-8A4929EAF7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9319111"/>
              </p:ext>
            </p:extLst>
          </p:nvPr>
        </p:nvGraphicFramePr>
        <p:xfrm>
          <a:off x="311700" y="1304875"/>
          <a:ext cx="8520600" cy="3416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79" name="Google Shape;79;p16"/>
          <p:cNvSpPr txBox="1"/>
          <p:nvPr/>
        </p:nvSpPr>
        <p:spPr>
          <a:xfrm>
            <a:off x="202096" y="-57400"/>
            <a:ext cx="8952900" cy="113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" sz="5000">
                <a:solidFill>
                  <a:srgbClr val="073763"/>
                </a:solidFill>
                <a:latin typeface="Proxima Nova"/>
                <a:cs typeface="Proxima Nova"/>
                <a:sym typeface="Proxima Nova"/>
              </a:rPr>
              <a:t>Types of Recommender Systems</a:t>
            </a:r>
            <a:endParaRPr lang="en-US"/>
          </a:p>
        </p:txBody>
      </p:sp>
      <p:sp>
        <p:nvSpPr>
          <p:cNvPr id="80" name="Google Shape;80;p16"/>
          <p:cNvSpPr/>
          <p:nvPr/>
        </p:nvSpPr>
        <p:spPr>
          <a:xfrm>
            <a:off x="345775" y="849350"/>
            <a:ext cx="2426400" cy="140700"/>
          </a:xfrm>
          <a:prstGeom prst="rect">
            <a:avLst/>
          </a:prstGeom>
          <a:solidFill>
            <a:srgbClr val="85200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5" name="Graphic 4" descr="Books">
            <a:extLst>
              <a:ext uri="{FF2B5EF4-FFF2-40B4-BE49-F238E27FC236}">
                <a16:creationId xmlns:a16="http://schemas.microsoft.com/office/drawing/2014/main" id="{E5CAB1DE-6C89-4042-9D60-0F8B9782A47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590948" y="2621707"/>
            <a:ext cx="778230" cy="778230"/>
          </a:xfrm>
          <a:prstGeom prst="rect">
            <a:avLst/>
          </a:prstGeom>
        </p:spPr>
      </p:pic>
      <p:pic>
        <p:nvPicPr>
          <p:cNvPr id="7" name="Graphic 6" descr="Influencer">
            <a:extLst>
              <a:ext uri="{FF2B5EF4-FFF2-40B4-BE49-F238E27FC236}">
                <a16:creationId xmlns:a16="http://schemas.microsoft.com/office/drawing/2014/main" id="{4878379A-2539-4BAC-A507-E014648D1AC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522863" y="1293974"/>
            <a:ext cx="914400" cy="914400"/>
          </a:xfrm>
          <a:prstGeom prst="rect">
            <a:avLst/>
          </a:prstGeom>
        </p:spPr>
      </p:pic>
      <p:pic>
        <p:nvPicPr>
          <p:cNvPr id="9" name="Graphic 8" descr="Filter">
            <a:extLst>
              <a:ext uri="{FF2B5EF4-FFF2-40B4-BE49-F238E27FC236}">
                <a16:creationId xmlns:a16="http://schemas.microsoft.com/office/drawing/2014/main" id="{89971442-E553-4C7B-AB4B-F864182D4C4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522863" y="387066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9802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Google Shape;77;p16"/>
          <p:cNvPicPr preferRelativeResize="0"/>
          <p:nvPr/>
        </p:nvPicPr>
        <p:blipFill>
          <a:blip r:embed="rId3">
            <a:alphaModFix amt="21000"/>
          </a:blip>
          <a:stretch>
            <a:fillRect/>
          </a:stretch>
        </p:blipFill>
        <p:spPr>
          <a:xfrm rot="5400000">
            <a:off x="1125174" y="-682800"/>
            <a:ext cx="5827776" cy="7193376"/>
          </a:xfrm>
          <a:prstGeom prst="rect">
            <a:avLst/>
          </a:prstGeom>
          <a:noFill/>
          <a:ln>
            <a:noFill/>
          </a:ln>
        </p:spPr>
      </p:pic>
      <p:sp>
        <p:nvSpPr>
          <p:cNvPr id="78" name="Google Shape;78;p16"/>
          <p:cNvSpPr txBox="1">
            <a:spLocks noGrp="1"/>
          </p:cNvSpPr>
          <p:nvPr>
            <p:ph type="body" idx="1"/>
          </p:nvPr>
        </p:nvSpPr>
        <p:spPr>
          <a:xfrm>
            <a:off x="311700" y="1304875"/>
            <a:ext cx="8520600" cy="3416400"/>
          </a:xfrm>
          <a:prstGeom prst="rect">
            <a:avLst/>
          </a:prstGeom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>
              <a:spcAft>
                <a:spcPts val="1600"/>
              </a:spcAft>
            </a:pPr>
            <a:r>
              <a:rPr lang="en-SG">
                <a:latin typeface="Roboto" panose="020B0604020202020204" charset="0"/>
                <a:ea typeface="Roboto"/>
                <a:cs typeface="Roboto" panose="020B0604020202020204" charset="0"/>
              </a:rPr>
              <a:t>The </a:t>
            </a:r>
            <a:r>
              <a:rPr lang="en-SG" b="1">
                <a:latin typeface="Roboto" panose="020B0604020202020204" charset="0"/>
                <a:ea typeface="Roboto"/>
                <a:cs typeface="Roboto" panose="020B0604020202020204" charset="0"/>
              </a:rPr>
              <a:t>simplest</a:t>
            </a:r>
            <a:r>
              <a:rPr lang="en-SG">
                <a:latin typeface="Roboto" panose="020B0604020202020204" charset="0"/>
                <a:ea typeface="Roboto"/>
                <a:cs typeface="Roboto" panose="020B0604020202020204" charset="0"/>
              </a:rPr>
              <a:t> recommender system to build</a:t>
            </a:r>
          </a:p>
          <a:p>
            <a:pPr marL="285750" indent="-285750">
              <a:lnSpc>
                <a:spcPct val="114999"/>
              </a:lnSpc>
              <a:spcAft>
                <a:spcPts val="1600"/>
              </a:spcAft>
            </a:pPr>
            <a:r>
              <a:rPr lang="en-SG">
                <a:latin typeface="Roboto" panose="020B0604020202020204" charset="0"/>
                <a:ea typeface="Roboto"/>
                <a:cs typeface="Roboto" panose="020B0604020202020204" charset="0"/>
              </a:rPr>
              <a:t>The "Trending" List you see on Netflix / YouTube</a:t>
            </a:r>
          </a:p>
          <a:p>
            <a:pPr marL="285750" indent="-285750">
              <a:lnSpc>
                <a:spcPct val="114999"/>
              </a:lnSpc>
              <a:spcAft>
                <a:spcPts val="1600"/>
              </a:spcAft>
            </a:pPr>
            <a:r>
              <a:rPr lang="en-SG">
                <a:latin typeface="Roboto" panose="020B0604020202020204" charset="0"/>
                <a:ea typeface="Roboto"/>
                <a:cs typeface="Roboto" panose="020B0604020202020204" charset="0"/>
              </a:rPr>
              <a:t>Keeps track of views/purchases over a time interval and then displays content in descending order. Simple, yet effective</a:t>
            </a:r>
          </a:p>
          <a:p>
            <a:pPr marL="285750" indent="-285750">
              <a:lnSpc>
                <a:spcPct val="114999"/>
              </a:lnSpc>
              <a:spcAft>
                <a:spcPts val="1600"/>
              </a:spcAft>
            </a:pPr>
            <a:r>
              <a:rPr lang="en-SG">
                <a:latin typeface="Roboto" panose="020B0604020202020204" charset="0"/>
                <a:cs typeface="Roboto" panose="020B0604020202020204" charset="0"/>
              </a:rPr>
              <a:t>Good idea to differentiate</a:t>
            </a:r>
            <a:r>
              <a:rPr lang="en-SG" b="1">
                <a:latin typeface="Roboto" panose="020B0604020202020204" charset="0"/>
                <a:cs typeface="Roboto" panose="020B0604020202020204" charset="0"/>
              </a:rPr>
              <a:t> </a:t>
            </a:r>
            <a:r>
              <a:rPr lang="en-SG">
                <a:latin typeface="Roboto" panose="020B0604020202020204" charset="0"/>
                <a:cs typeface="Roboto" panose="020B0604020202020204" charset="0"/>
              </a:rPr>
              <a:t>popularity</a:t>
            </a:r>
            <a:r>
              <a:rPr lang="en-SG" b="1">
                <a:latin typeface="Roboto" panose="020B0604020202020204" charset="0"/>
                <a:cs typeface="Roboto" panose="020B0604020202020204" charset="0"/>
              </a:rPr>
              <a:t> </a:t>
            </a:r>
            <a:r>
              <a:rPr lang="en-SG">
                <a:latin typeface="Roboto" panose="020B0604020202020204" charset="0"/>
                <a:cs typeface="Roboto" panose="020B0604020202020204" charset="0"/>
              </a:rPr>
              <a:t>lists based off of factors like location</a:t>
            </a:r>
          </a:p>
          <a:p>
            <a:pPr marL="285750" indent="-285750">
              <a:lnSpc>
                <a:spcPct val="114999"/>
              </a:lnSpc>
              <a:spcAft>
                <a:spcPts val="1600"/>
              </a:spcAft>
            </a:pPr>
            <a:r>
              <a:rPr lang="en-SG" b="1">
                <a:latin typeface="Roboto" panose="020B0604020202020204" charset="0"/>
                <a:cs typeface="Roboto" panose="020B0604020202020204" charset="0"/>
              </a:rPr>
              <a:t>Pros:</a:t>
            </a:r>
            <a:r>
              <a:rPr lang="en-SG">
                <a:latin typeface="Roboto" panose="020B0604020202020204" charset="0"/>
                <a:cs typeface="Roboto" panose="020B0604020202020204" charset="0"/>
              </a:rPr>
              <a:t> Easy to Build and Effective</a:t>
            </a:r>
          </a:p>
          <a:p>
            <a:pPr marL="285750" indent="-285750">
              <a:lnSpc>
                <a:spcPct val="114999"/>
              </a:lnSpc>
              <a:spcAft>
                <a:spcPts val="1600"/>
              </a:spcAft>
            </a:pPr>
            <a:r>
              <a:rPr lang="en-SG" b="1">
                <a:latin typeface="Roboto" panose="020B0604020202020204" charset="0"/>
                <a:cs typeface="Roboto" panose="020B0604020202020204" charset="0"/>
              </a:rPr>
              <a:t>Cons:</a:t>
            </a:r>
            <a:r>
              <a:rPr lang="en-SG">
                <a:latin typeface="Roboto" panose="020B0604020202020204" charset="0"/>
                <a:cs typeface="Roboto" panose="020B0604020202020204" charset="0"/>
              </a:rPr>
              <a:t> Not personalized</a:t>
            </a:r>
          </a:p>
        </p:txBody>
      </p:sp>
      <p:sp>
        <p:nvSpPr>
          <p:cNvPr id="79" name="Google Shape;79;p16"/>
          <p:cNvSpPr txBox="1"/>
          <p:nvPr/>
        </p:nvSpPr>
        <p:spPr>
          <a:xfrm>
            <a:off x="202096" y="-57400"/>
            <a:ext cx="8952900" cy="113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" sz="5000">
                <a:solidFill>
                  <a:srgbClr val="073763"/>
                </a:solidFill>
                <a:latin typeface="Proxima Nova"/>
                <a:ea typeface="Proxima Nova"/>
                <a:cs typeface="Proxima Nova"/>
                <a:sym typeface="Proxima Nova"/>
              </a:rPr>
              <a:t>Popularity-Based R.S.</a:t>
            </a:r>
            <a:endParaRPr sz="2700">
              <a:solidFill>
                <a:srgbClr val="073763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80" name="Google Shape;80;p16"/>
          <p:cNvSpPr/>
          <p:nvPr/>
        </p:nvSpPr>
        <p:spPr>
          <a:xfrm>
            <a:off x="345775" y="849350"/>
            <a:ext cx="2426400" cy="140700"/>
          </a:xfrm>
          <a:prstGeom prst="rect">
            <a:avLst/>
          </a:prstGeom>
          <a:solidFill>
            <a:srgbClr val="85200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" name="Picture 3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8346B6CA-68B1-4610-ABC7-AFED529FFE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72880" y="3907597"/>
            <a:ext cx="4628219" cy="813069"/>
          </a:xfrm>
          <a:prstGeom prst="rect">
            <a:avLst/>
          </a:prstGeom>
          <a:ln>
            <a:solidFill>
              <a:srgbClr val="07376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Graphic 6" descr="Influencer">
            <a:extLst>
              <a:ext uri="{FF2B5EF4-FFF2-40B4-BE49-F238E27FC236}">
                <a16:creationId xmlns:a16="http://schemas.microsoft.com/office/drawing/2014/main" id="{1A401FFD-327C-49DB-B857-14C6B7AF355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44426" y="-3497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6494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Google Shape;77;p16"/>
          <p:cNvPicPr preferRelativeResize="0"/>
          <p:nvPr/>
        </p:nvPicPr>
        <p:blipFill>
          <a:blip r:embed="rId3">
            <a:alphaModFix amt="21000"/>
          </a:blip>
          <a:stretch>
            <a:fillRect/>
          </a:stretch>
        </p:blipFill>
        <p:spPr>
          <a:xfrm rot="5400000">
            <a:off x="1125174" y="-682800"/>
            <a:ext cx="5827776" cy="7193376"/>
          </a:xfrm>
          <a:prstGeom prst="rect">
            <a:avLst/>
          </a:prstGeom>
          <a:noFill/>
          <a:ln>
            <a:noFill/>
          </a:ln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78" name="Google Shape;78;p16"/>
              <p:cNvSpPr txBox="1">
                <a:spLocks noGrp="1"/>
              </p:cNvSpPr>
              <p:nvPr>
                <p:ph type="body" idx="1"/>
              </p:nvPr>
            </p:nvSpPr>
            <p:spPr>
              <a:xfrm>
                <a:off x="311700" y="1304875"/>
                <a:ext cx="8520600" cy="3416400"/>
              </a:xfrm>
              <a:prstGeom prst="rect">
                <a:avLst/>
              </a:prstGeom>
              <a:ln w="9525" cap="flat" cmpd="sng">
                <a:solidFill>
                  <a:srgbClr val="D9D9D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285750" indent="-285750">
                  <a:spcAft>
                    <a:spcPts val="1600"/>
                  </a:spcAft>
                </a:pPr>
                <a:r>
                  <a:rPr lang="en-SG">
                    <a:latin typeface="Roboto" panose="020B0604020202020204" charset="0"/>
                    <a:ea typeface="Roboto"/>
                    <a:cs typeface="Roboto" panose="020B0604020202020204" charset="0"/>
                    <a:sym typeface="Roboto"/>
                  </a:rPr>
                  <a:t>Model evaluates the similarity of two pieces of content</a:t>
                </a:r>
              </a:p>
              <a:p>
                <a:pPr marL="285750" indent="-285750">
                  <a:spcAft>
                    <a:spcPts val="1600"/>
                  </a:spcAft>
                </a:pPr>
                <a:r>
                  <a:rPr lang="en-SG">
                    <a:latin typeface="Roboto" panose="020B0604020202020204" charset="0"/>
                    <a:ea typeface="Roboto"/>
                    <a:cs typeface="Roboto" panose="020B0604020202020204" charset="0"/>
                    <a:sym typeface="Roboto"/>
                  </a:rPr>
                  <a:t>Logic statement: </a:t>
                </a:r>
                <a:r>
                  <a:rPr lang="en-SG" i="1">
                    <a:latin typeface="Roboto" panose="020B0604020202020204" charset="0"/>
                    <a:ea typeface="Roboto"/>
                    <a:cs typeface="Roboto" panose="020B0604020202020204" charset="0"/>
                    <a:sym typeface="Roboto"/>
                  </a:rPr>
                  <a:t>Users will also enjoy content that is sufficiently similar to the content they currently enjoy</a:t>
                </a:r>
              </a:p>
              <a:p>
                <a:pPr marL="285750" indent="-285750"/>
                <a:r>
                  <a:rPr lang="en-SG">
                    <a:latin typeface="Roboto" panose="020B0604020202020204" charset="0"/>
                    <a:ea typeface="Roboto"/>
                    <a:cs typeface="Roboto" panose="020B0604020202020204" charset="0"/>
                    <a:sym typeface="Roboto"/>
                  </a:rPr>
                  <a:t>Training (Vector Analysis)</a:t>
                </a:r>
              </a:p>
              <a:p>
                <a:pPr marL="742950" lvl="1" indent="-285750">
                  <a:spcBef>
                    <a:spcPts val="0"/>
                  </a:spcBef>
                </a:pPr>
                <a:r>
                  <a:rPr lang="en-SG" sz="1800">
                    <a:latin typeface="Roboto" panose="020B0604020202020204" charset="0"/>
                    <a:ea typeface="Roboto"/>
                    <a:cs typeface="Roboto" panose="020B0604020202020204" charset="0"/>
                    <a:sym typeface="Roboto"/>
                  </a:rPr>
                  <a:t>Create two vectors of the data features of two pieces of content</a:t>
                </a:r>
              </a:p>
              <a:p>
                <a:pPr marL="457200" lvl="1" indent="0">
                  <a:spcBef>
                    <a:spcPts val="0"/>
                  </a:spcBef>
                  <a:buNone/>
                </a:pPr>
                <a:r>
                  <a:rPr lang="en-SG" sz="1800" b="0">
                    <a:latin typeface="Roboto" panose="020B0604020202020204" charset="0"/>
                    <a:cs typeface="Roboto" panose="020B0604020202020204" charset="0"/>
                    <a:sym typeface="Roboto"/>
                  </a:rPr>
                  <a:t>	</a:t>
                </a:r>
                <a14:m>
                  <m:oMath xmlns:m="http://schemas.openxmlformats.org/officeDocument/2006/math">
                    <m:acc>
                      <m:accPr>
                        <m:chr m:val="⃑"/>
                        <m:ctrlPr>
                          <a:rPr lang="en-US" sz="1800" b="0" i="1" smtClean="0">
                            <a:latin typeface="Cambria Math" panose="02040503050406030204" pitchFamily="18" charset="0"/>
                            <a:cs typeface="Roboto"/>
                            <a:sym typeface="Roboto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en-US" sz="1800" b="0" i="1" smtClean="0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</m:ctrlPr>
                          </m:sSubPr>
                          <m:e>
                            <m:r>
                              <a:rPr lang="en-US" sz="1800" b="0" i="1" smtClean="0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  <m:t>𝑋</m:t>
                            </m:r>
                          </m:e>
                          <m:sub>
                            <m:r>
                              <a:rPr lang="en-US" sz="1800" b="0" i="1" smtClean="0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  <m:t>𝑎</m:t>
                            </m:r>
                          </m:sub>
                        </m:sSub>
                      </m:e>
                    </m:acc>
                    <m:r>
                      <a:rPr lang="en-US" sz="1800" b="0" i="0" smtClean="0">
                        <a:latin typeface="Cambria Math" panose="02040503050406030204" pitchFamily="18" charset="0"/>
                        <a:cs typeface="Roboto"/>
                        <a:sym typeface="Roboto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en-SG" sz="1800" i="1" smtClean="0">
                            <a:latin typeface="Cambria Math" panose="02040503050406030204" pitchFamily="18" charset="0"/>
                            <a:cs typeface="Roboto"/>
                            <a:sym typeface="Roboto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SG" sz="1800" i="1" smtClean="0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</m:ctrlPr>
                          </m:sSubPr>
                          <m:e>
                            <m:r>
                              <a:rPr lang="en-US" sz="1800" b="0" i="1" smtClean="0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  <m:t>𝑥</m:t>
                            </m:r>
                          </m:e>
                          <m:sub>
                            <m:r>
                              <a:rPr lang="en-US" sz="1800" b="0" i="1" smtClean="0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  <m:t>1</m:t>
                            </m:r>
                          </m:sub>
                        </m:sSub>
                        <m:r>
                          <a:rPr lang="en-US" sz="1800" b="0" i="1" smtClean="0">
                            <a:latin typeface="Cambria Math" panose="02040503050406030204" pitchFamily="18" charset="0"/>
                            <a:cs typeface="Roboto"/>
                            <a:sym typeface="Roboto"/>
                          </a:rPr>
                          <m:t>, </m:t>
                        </m:r>
                        <m:sSub>
                          <m:sSubPr>
                            <m:ctrlPr>
                              <a:rPr lang="en-US" sz="1800" b="0" i="1" smtClean="0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</m:ctrlPr>
                          </m:sSubPr>
                          <m:e>
                            <m:r>
                              <a:rPr lang="en-US" sz="1800" b="0" i="1" smtClean="0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  <m:t>𝑥</m:t>
                            </m:r>
                          </m:e>
                          <m:sub>
                            <m:r>
                              <a:rPr lang="en-US" sz="1800" b="0" i="1" smtClean="0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  <m:t>2</m:t>
                            </m:r>
                          </m:sub>
                        </m:sSub>
                        <m:r>
                          <a:rPr lang="en-US" sz="1800" b="0" i="1" smtClean="0">
                            <a:latin typeface="Cambria Math" panose="02040503050406030204" pitchFamily="18" charset="0"/>
                            <a:cs typeface="Roboto"/>
                            <a:sym typeface="Roboto"/>
                          </a:rPr>
                          <m:t>, </m:t>
                        </m:r>
                        <m:sSub>
                          <m:sSubPr>
                            <m:ctrlPr>
                              <a:rPr lang="en-US" sz="1800" b="0" i="1" smtClean="0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</m:ctrlPr>
                          </m:sSubPr>
                          <m:e>
                            <m:r>
                              <a:rPr lang="en-US" sz="1800" b="0" i="1" smtClean="0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  <m:t>𝑥</m:t>
                            </m:r>
                          </m:e>
                          <m:sub>
                            <m:r>
                              <a:rPr lang="en-US" sz="1800" b="0" i="1" smtClean="0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  <m:t>3</m:t>
                            </m:r>
                          </m:sub>
                        </m:sSub>
                        <m:r>
                          <a:rPr lang="en-US" sz="1800" b="0" i="1" smtClean="0">
                            <a:latin typeface="Cambria Math" panose="02040503050406030204" pitchFamily="18" charset="0"/>
                            <a:cs typeface="Roboto"/>
                            <a:sym typeface="Roboto"/>
                          </a:rPr>
                          <m:t>,  .. .  , </m:t>
                        </m:r>
                        <m:sSub>
                          <m:sSubPr>
                            <m:ctrlPr>
                              <a:rPr lang="en-US" sz="1800" b="0" i="1" smtClean="0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</m:ctrlPr>
                          </m:sSubPr>
                          <m:e>
                            <m:r>
                              <a:rPr lang="en-US" sz="1800" b="0" i="1" smtClean="0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  <m:t>𝑥</m:t>
                            </m:r>
                          </m:e>
                          <m:sub>
                            <m:r>
                              <a:rPr lang="en-US" sz="1800" b="0" i="1" smtClean="0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  <m:t>𝑛</m:t>
                            </m:r>
                          </m:sub>
                        </m:sSub>
                      </m:e>
                    </m:d>
                  </m:oMath>
                </a14:m>
                <a:r>
                  <a:rPr lang="en-SG" sz="1800">
                    <a:latin typeface="Roboto" panose="020B0604020202020204" charset="0"/>
                    <a:ea typeface="Roboto"/>
                    <a:cs typeface="Roboto" panose="020B0604020202020204" charset="0"/>
                    <a:sym typeface="Roboto"/>
                  </a:rPr>
                  <a:t>	</a:t>
                </a:r>
                <a:r>
                  <a:rPr lang="en-US" sz="1800">
                    <a:latin typeface="Roboto" panose="020B0604020202020204" charset="0"/>
                    <a:cs typeface="Roboto" panose="020B0604020202020204" charset="0"/>
                    <a:sym typeface="Roboto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⃑"/>
                        <m:ctrlPr>
                          <a:rPr lang="en-US" sz="1800" i="1">
                            <a:latin typeface="Cambria Math" panose="02040503050406030204" pitchFamily="18" charset="0"/>
                            <a:cs typeface="Roboto"/>
                            <a:sym typeface="Roboto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en-US" sz="1800" i="1" smtClean="0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</m:ctrlPr>
                          </m:sSubPr>
                          <m:e>
                            <m:r>
                              <a:rPr lang="en-US" sz="1800" b="0" i="1" smtClean="0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  <m:t>𝑋</m:t>
                            </m:r>
                          </m:e>
                          <m:sub>
                            <m:r>
                              <a:rPr lang="en-US" sz="1800" b="0" i="1" smtClean="0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  <m:t>𝑏</m:t>
                            </m:r>
                          </m:sub>
                        </m:sSub>
                      </m:e>
                    </m:acc>
                    <m:r>
                      <a:rPr lang="en-US" sz="1800">
                        <a:latin typeface="Cambria Math" panose="02040503050406030204" pitchFamily="18" charset="0"/>
                        <a:cs typeface="Roboto"/>
                        <a:sym typeface="Roboto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en-SG" sz="1800" i="1">
                            <a:latin typeface="Cambria Math" panose="02040503050406030204" pitchFamily="18" charset="0"/>
                            <a:cs typeface="Roboto"/>
                            <a:sym typeface="Roboto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SG" sz="1800" i="1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</m:ctrlPr>
                          </m:sSubPr>
                          <m:e>
                            <m:r>
                              <a:rPr lang="en-US" sz="1800" b="0" i="1" smtClean="0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  <m:t>𝑥</m:t>
                            </m:r>
                          </m:e>
                          <m:sub>
                            <m:r>
                              <a:rPr lang="en-US" sz="1800" i="1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  <m:t>1</m:t>
                            </m:r>
                          </m:sub>
                        </m:sSub>
                        <m:r>
                          <a:rPr lang="en-US" sz="1800" i="1">
                            <a:latin typeface="Cambria Math" panose="02040503050406030204" pitchFamily="18" charset="0"/>
                            <a:cs typeface="Roboto"/>
                            <a:sym typeface="Roboto"/>
                          </a:rPr>
                          <m:t>, </m:t>
                        </m:r>
                        <m:sSub>
                          <m:sSubPr>
                            <m:ctrlPr>
                              <a:rPr lang="en-US" sz="1800" i="1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</m:ctrlPr>
                          </m:sSubPr>
                          <m:e>
                            <m:r>
                              <a:rPr lang="en-US" sz="1800" i="1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  <m:t>𝑥</m:t>
                            </m:r>
                          </m:e>
                          <m:sub>
                            <m:r>
                              <a:rPr lang="en-US" sz="1800" i="1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  <m:t>2</m:t>
                            </m:r>
                          </m:sub>
                        </m:sSub>
                        <m:r>
                          <a:rPr lang="en-US" sz="1800" i="1">
                            <a:latin typeface="Cambria Math" panose="02040503050406030204" pitchFamily="18" charset="0"/>
                            <a:cs typeface="Roboto"/>
                            <a:sym typeface="Roboto"/>
                          </a:rPr>
                          <m:t>, </m:t>
                        </m:r>
                        <m:sSub>
                          <m:sSubPr>
                            <m:ctrlPr>
                              <a:rPr lang="en-US" sz="1800" i="1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</m:ctrlPr>
                          </m:sSubPr>
                          <m:e>
                            <m:r>
                              <a:rPr lang="en-US" sz="1800" i="1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  <m:t>𝑥</m:t>
                            </m:r>
                          </m:e>
                          <m:sub>
                            <m:r>
                              <a:rPr lang="en-US" sz="1800" i="1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  <m:t>3</m:t>
                            </m:r>
                          </m:sub>
                        </m:sSub>
                        <m:r>
                          <a:rPr lang="en-US" sz="1800" i="1">
                            <a:latin typeface="Cambria Math" panose="02040503050406030204" pitchFamily="18" charset="0"/>
                            <a:cs typeface="Roboto"/>
                            <a:sym typeface="Roboto"/>
                          </a:rPr>
                          <m:t>,  .. .  , </m:t>
                        </m:r>
                        <m:sSub>
                          <m:sSubPr>
                            <m:ctrlPr>
                              <a:rPr lang="en-US" sz="1800" i="1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</m:ctrlPr>
                          </m:sSubPr>
                          <m:e>
                            <m:r>
                              <a:rPr lang="en-US" sz="1800" i="1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  <m:t>𝑥</m:t>
                            </m:r>
                          </m:e>
                          <m:sub>
                            <m:r>
                              <a:rPr lang="en-US" sz="1800" i="1">
                                <a:latin typeface="Cambria Math" panose="02040503050406030204" pitchFamily="18" charset="0"/>
                                <a:cs typeface="Roboto"/>
                                <a:sym typeface="Roboto"/>
                              </a:rPr>
                              <m:t>𝑛</m:t>
                            </m:r>
                          </m:sub>
                        </m:sSub>
                      </m:e>
                    </m:d>
                  </m:oMath>
                </a14:m>
                <a:endParaRPr lang="en-SG" sz="1800">
                  <a:latin typeface="Roboto" panose="020B0604020202020204" charset="0"/>
                  <a:ea typeface="Roboto"/>
                  <a:cs typeface="Roboto" panose="020B0604020202020204" charset="0"/>
                  <a:sym typeface="Roboto"/>
                </a:endParaRPr>
              </a:p>
              <a:p>
                <a:pPr marL="742950" lvl="1" indent="-285750">
                  <a:spcBef>
                    <a:spcPts val="0"/>
                  </a:spcBef>
                </a:pPr>
                <a:r>
                  <a:rPr lang="en-SG" sz="1800">
                    <a:latin typeface="Roboto" panose="020B0604020202020204" charset="0"/>
                    <a:ea typeface="Roboto"/>
                    <a:cs typeface="Roboto" panose="020B0604020202020204" charset="0"/>
                    <a:sym typeface="Roboto"/>
                  </a:rPr>
                  <a:t>Use mathematics to compare the two vectors (</a:t>
                </a:r>
                <a:r>
                  <a:rPr lang="en-SG" sz="1800" b="1">
                    <a:latin typeface="Roboto" panose="020B0604020202020204" charset="0"/>
                    <a:ea typeface="Roboto"/>
                    <a:cs typeface="Roboto" panose="020B0604020202020204" charset="0"/>
                    <a:sym typeface="Roboto"/>
                  </a:rPr>
                  <a:t>cosine similarity</a:t>
                </a:r>
                <a:r>
                  <a:rPr lang="en-SG" sz="1800">
                    <a:latin typeface="Roboto" panose="020B0604020202020204" charset="0"/>
                    <a:ea typeface="Roboto"/>
                    <a:cs typeface="Roboto" panose="020B0604020202020204" charset="0"/>
                    <a:sym typeface="Roboto"/>
                  </a:rPr>
                  <a:t>)</a:t>
                </a:r>
              </a:p>
              <a:p>
                <a:pPr marL="742950" lvl="1" indent="-285750">
                  <a:spcBef>
                    <a:spcPts val="0"/>
                  </a:spcBef>
                </a:pPr>
                <a:r>
                  <a:rPr lang="en-SG" sz="1800">
                    <a:latin typeface="Roboto" panose="020B0604020202020204" charset="0"/>
                    <a:ea typeface="Roboto"/>
                    <a:cs typeface="Roboto" panose="020B0604020202020204" charset="0"/>
                    <a:sym typeface="Roboto"/>
                  </a:rPr>
                  <a:t>Repeat process and compare all content against all other content</a:t>
                </a:r>
              </a:p>
              <a:p>
                <a:pPr marL="742950" lvl="1" indent="-285750">
                  <a:spcBef>
                    <a:spcPts val="0"/>
                  </a:spcBef>
                  <a:spcAft>
                    <a:spcPts val="1600"/>
                  </a:spcAft>
                </a:pPr>
                <a:r>
                  <a:rPr lang="en-SG" sz="1800">
                    <a:latin typeface="Roboto" panose="020B0604020202020204" charset="0"/>
                    <a:ea typeface="Roboto"/>
                    <a:cs typeface="Roboto" panose="020B0604020202020204" charset="0"/>
                    <a:sym typeface="Roboto"/>
                  </a:rPr>
                  <a:t>Completed model is essentially a </a:t>
                </a:r>
                <a:r>
                  <a:rPr lang="en-SG" sz="1800" b="1">
                    <a:latin typeface="Roboto" panose="020B0604020202020204" charset="0"/>
                    <a:ea typeface="Roboto"/>
                    <a:cs typeface="Roboto" panose="020B0604020202020204" charset="0"/>
                    <a:sym typeface="Roboto"/>
                  </a:rPr>
                  <a:t>database</a:t>
                </a:r>
                <a:r>
                  <a:rPr lang="en-SG" sz="1800">
                    <a:latin typeface="Roboto" panose="020B0604020202020204" charset="0"/>
                    <a:ea typeface="Roboto"/>
                    <a:cs typeface="Roboto" panose="020B0604020202020204" charset="0"/>
                    <a:sym typeface="Roboto"/>
                  </a:rPr>
                  <a:t> of related content</a:t>
                </a:r>
                <a:endParaRPr lang="en-SG" sz="2200"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</mc:Choice>
        <mc:Fallback>
          <p:sp>
            <p:nvSpPr>
              <p:cNvPr id="78" name="Google Shape;78;p16"/>
              <p:cNvSpPr txBox="1"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311700" y="1304875"/>
                <a:ext cx="8520600" cy="3416400"/>
              </a:xfrm>
              <a:prstGeom prst="rect">
                <a:avLst/>
              </a:prstGeom>
              <a:blipFill>
                <a:blip r:embed="rId4"/>
                <a:stretch>
                  <a:fillRect l="-357" r="-71" b="-2491"/>
                </a:stretch>
              </a:blipFill>
              <a:ln w="9525" cap="flat" cmpd="sng">
                <a:solidFill>
                  <a:srgbClr val="D9D9D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9" name="Google Shape;79;p16"/>
          <p:cNvSpPr txBox="1"/>
          <p:nvPr/>
        </p:nvSpPr>
        <p:spPr>
          <a:xfrm>
            <a:off x="202096" y="-57400"/>
            <a:ext cx="8952900" cy="113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" sz="5000">
                <a:solidFill>
                  <a:srgbClr val="073763"/>
                </a:solidFill>
                <a:latin typeface="Proxima Nova"/>
                <a:ea typeface="Proxima Nova"/>
                <a:cs typeface="Proxima Nova"/>
                <a:sym typeface="Proxima Nova"/>
              </a:rPr>
              <a:t>Content-based R.S.</a:t>
            </a:r>
            <a:endParaRPr sz="2700">
              <a:solidFill>
                <a:srgbClr val="073763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80" name="Google Shape;80;p16"/>
          <p:cNvSpPr/>
          <p:nvPr/>
        </p:nvSpPr>
        <p:spPr>
          <a:xfrm>
            <a:off x="345775" y="849350"/>
            <a:ext cx="2426400" cy="140700"/>
          </a:xfrm>
          <a:prstGeom prst="rect">
            <a:avLst/>
          </a:prstGeom>
          <a:solidFill>
            <a:srgbClr val="85200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7" name="Graphic 6" descr="Books">
            <a:extLst>
              <a:ext uri="{FF2B5EF4-FFF2-40B4-BE49-F238E27FC236}">
                <a16:creationId xmlns:a16="http://schemas.microsoft.com/office/drawing/2014/main" id="{FF096ECF-265C-41F7-BDF2-3DA24EFD5B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12511" y="24143"/>
            <a:ext cx="778230" cy="778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1315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Google Shape;77;p16"/>
          <p:cNvPicPr preferRelativeResize="0"/>
          <p:nvPr/>
        </p:nvPicPr>
        <p:blipFill>
          <a:blip r:embed="rId3">
            <a:alphaModFix amt="21000"/>
          </a:blip>
          <a:stretch>
            <a:fillRect/>
          </a:stretch>
        </p:blipFill>
        <p:spPr>
          <a:xfrm rot="5400000">
            <a:off x="1125174" y="-682800"/>
            <a:ext cx="5827776" cy="7193376"/>
          </a:xfrm>
          <a:prstGeom prst="rect">
            <a:avLst/>
          </a:prstGeom>
          <a:noFill/>
          <a:ln>
            <a:noFill/>
          </a:ln>
        </p:spPr>
      </p:pic>
      <p:sp>
        <p:nvSpPr>
          <p:cNvPr id="78" name="Google Shape;78;p16"/>
          <p:cNvSpPr txBox="1">
            <a:spLocks noGrp="1"/>
          </p:cNvSpPr>
          <p:nvPr>
            <p:ph type="body" idx="1"/>
          </p:nvPr>
        </p:nvSpPr>
        <p:spPr>
          <a:xfrm>
            <a:off x="311700" y="1304875"/>
            <a:ext cx="8520600" cy="3416400"/>
          </a:xfrm>
          <a:prstGeom prst="rect">
            <a:avLst/>
          </a:prstGeom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en-US">
                <a:latin typeface="Roboto"/>
                <a:ea typeface="Roboto"/>
                <a:cs typeface="Roboto"/>
                <a:sym typeface="Roboto"/>
              </a:rPr>
              <a:t>Recommendation Pipeline</a:t>
            </a:r>
          </a:p>
          <a:p>
            <a:pPr marL="742950" lvl="1" indent="-285750">
              <a:spcBef>
                <a:spcPts val="0"/>
              </a:spcBef>
            </a:pPr>
            <a:r>
              <a:rPr lang="en-US" sz="1800">
                <a:latin typeface="Roboto"/>
                <a:ea typeface="Roboto"/>
                <a:cs typeface="Roboto"/>
                <a:sym typeface="Roboto"/>
              </a:rPr>
              <a:t>Input a list of content pulled from user (watch list, search history, cart)</a:t>
            </a:r>
          </a:p>
          <a:p>
            <a:pPr marL="742950" lvl="1" indent="-285750">
              <a:spcBef>
                <a:spcPts val="0"/>
              </a:spcBef>
            </a:pPr>
            <a:r>
              <a:rPr lang="en-US" sz="1800">
                <a:latin typeface="Roboto"/>
                <a:ea typeface="Roboto"/>
                <a:cs typeface="Roboto"/>
                <a:sym typeface="Roboto"/>
              </a:rPr>
              <a:t>Model returns a list of </a:t>
            </a:r>
            <a:r>
              <a:rPr lang="en-US" sz="1800" b="1">
                <a:latin typeface="Roboto"/>
                <a:ea typeface="Roboto"/>
                <a:cs typeface="Roboto"/>
                <a:sym typeface="Roboto"/>
              </a:rPr>
              <a:t>unseen</a:t>
            </a:r>
            <a:r>
              <a:rPr lang="en-US" sz="1800">
                <a:latin typeface="Roboto"/>
                <a:ea typeface="Roboto"/>
                <a:cs typeface="Roboto"/>
                <a:sym typeface="Roboto"/>
              </a:rPr>
              <a:t> content</a:t>
            </a:r>
          </a:p>
          <a:p>
            <a:pPr marL="742950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1800">
                <a:latin typeface="Roboto"/>
                <a:ea typeface="Roboto"/>
                <a:cs typeface="Roboto"/>
                <a:sym typeface="Roboto"/>
              </a:rPr>
              <a:t>User is shown a list of “Items similar to…” “You might like…”</a:t>
            </a:r>
          </a:p>
          <a:p>
            <a:pPr marL="0" indent="0">
              <a:spcAft>
                <a:spcPts val="1200"/>
              </a:spcAft>
              <a:buNone/>
            </a:pPr>
            <a:endParaRPr lang="en-SG" sz="220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79" name="Google Shape;79;p16"/>
          <p:cNvSpPr txBox="1"/>
          <p:nvPr/>
        </p:nvSpPr>
        <p:spPr>
          <a:xfrm>
            <a:off x="202096" y="-57400"/>
            <a:ext cx="8952900" cy="113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" sz="5000">
                <a:solidFill>
                  <a:srgbClr val="073763"/>
                </a:solidFill>
                <a:latin typeface="Proxima Nova"/>
                <a:ea typeface="Proxima Nova"/>
                <a:cs typeface="Proxima Nova"/>
                <a:sym typeface="Proxima Nova"/>
              </a:rPr>
              <a:t>Content-based R.S.</a:t>
            </a:r>
            <a:endParaRPr sz="2700">
              <a:solidFill>
                <a:srgbClr val="073763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80" name="Google Shape;80;p16"/>
          <p:cNvSpPr/>
          <p:nvPr/>
        </p:nvSpPr>
        <p:spPr>
          <a:xfrm>
            <a:off x="345775" y="849350"/>
            <a:ext cx="2426400" cy="140700"/>
          </a:xfrm>
          <a:prstGeom prst="rect">
            <a:avLst/>
          </a:prstGeom>
          <a:solidFill>
            <a:srgbClr val="85200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7" name="Graphic 6" descr="Books">
            <a:extLst>
              <a:ext uri="{FF2B5EF4-FFF2-40B4-BE49-F238E27FC236}">
                <a16:creationId xmlns:a16="http://schemas.microsoft.com/office/drawing/2014/main" id="{FF096ECF-265C-41F7-BDF2-3DA24EFD5B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12511" y="24143"/>
            <a:ext cx="778230" cy="778230"/>
          </a:xfrm>
          <a:prstGeom prst="rect">
            <a:avLst/>
          </a:prstGeom>
        </p:spPr>
      </p:pic>
      <p:pic>
        <p:nvPicPr>
          <p:cNvPr id="3" name="Picture 2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0CABD658-4D15-43D3-8009-79758648A4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9837" y="2781572"/>
            <a:ext cx="2526755" cy="2123129"/>
          </a:xfrm>
          <a:prstGeom prst="rect">
            <a:avLst/>
          </a:prstGeom>
          <a:ln>
            <a:solidFill>
              <a:srgbClr val="073763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 descr="Graphical user interface, text, application, website&#10;&#10;Description automatically generated">
            <a:extLst>
              <a:ext uri="{FF2B5EF4-FFF2-40B4-BE49-F238E27FC236}">
                <a16:creationId xmlns:a16="http://schemas.microsoft.com/office/drawing/2014/main" id="{0535E67A-C723-47D9-B66A-39AE16E410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72699" y="2781572"/>
            <a:ext cx="3703329" cy="2108760"/>
          </a:xfrm>
          <a:prstGeom prst="rect">
            <a:avLst/>
          </a:prstGeom>
          <a:ln>
            <a:solidFill>
              <a:srgbClr val="07376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810130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Google Shape;77;p16"/>
          <p:cNvPicPr preferRelativeResize="0"/>
          <p:nvPr/>
        </p:nvPicPr>
        <p:blipFill>
          <a:blip r:embed="rId3">
            <a:alphaModFix amt="21000"/>
          </a:blip>
          <a:stretch>
            <a:fillRect/>
          </a:stretch>
        </p:blipFill>
        <p:spPr>
          <a:xfrm rot="5400000">
            <a:off x="1125174" y="-682800"/>
            <a:ext cx="5827776" cy="7193376"/>
          </a:xfrm>
          <a:prstGeom prst="rect">
            <a:avLst/>
          </a:prstGeom>
          <a:noFill/>
          <a:ln>
            <a:noFill/>
          </a:ln>
        </p:spPr>
      </p:pic>
      <p:sp>
        <p:nvSpPr>
          <p:cNvPr id="78" name="Google Shape;78;p16"/>
          <p:cNvSpPr txBox="1">
            <a:spLocks noGrp="1"/>
          </p:cNvSpPr>
          <p:nvPr>
            <p:ph type="body" idx="1"/>
          </p:nvPr>
        </p:nvSpPr>
        <p:spPr>
          <a:xfrm>
            <a:off x="311700" y="1304874"/>
            <a:ext cx="8520600" cy="3541445"/>
          </a:xfrm>
          <a:prstGeom prst="rect">
            <a:avLst/>
          </a:prstGeom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>
              <a:lnSpc>
                <a:spcPct val="100000"/>
              </a:lnSpc>
              <a:spcAft>
                <a:spcPts val="1600"/>
              </a:spcAft>
            </a:pPr>
            <a:r>
              <a:rPr lang="en-SG">
                <a:latin typeface="Roboto"/>
                <a:cs typeface="Roboto"/>
              </a:rPr>
              <a:t>Systems find similar users based on their activities and preferences</a:t>
            </a:r>
          </a:p>
          <a:p>
            <a:pPr marL="285750" indent="-285750">
              <a:lnSpc>
                <a:spcPct val="100000"/>
              </a:lnSpc>
              <a:spcAft>
                <a:spcPts val="1600"/>
              </a:spcAft>
            </a:pPr>
            <a:r>
              <a:rPr lang="en-SG">
                <a:latin typeface="Roboto"/>
                <a:cs typeface="Roboto"/>
              </a:rPr>
              <a:t>For two similar users A and B, if A has purchased / viewed content B hasn't, that content gets recommended and vice-versa</a:t>
            </a:r>
          </a:p>
          <a:p>
            <a:pPr marL="285750" indent="-285750">
              <a:lnSpc>
                <a:spcPct val="100000"/>
              </a:lnSpc>
            </a:pPr>
            <a:r>
              <a:rPr lang="en-SG" b="1">
                <a:latin typeface="Roboto"/>
                <a:cs typeface="Roboto"/>
              </a:rPr>
              <a:t>Pros: 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</a:pPr>
            <a:r>
              <a:rPr lang="en-SG" sz="1800">
                <a:latin typeface="Roboto"/>
                <a:cs typeface="Roboto"/>
              </a:rPr>
              <a:t>Don't need as much metadata about the products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</a:pPr>
            <a:r>
              <a:rPr lang="en-SG" sz="1800">
                <a:latin typeface="Roboto"/>
                <a:cs typeface="Roboto"/>
              </a:rPr>
              <a:t>Needs more data about user interactions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</a:pPr>
            <a:r>
              <a:rPr lang="en-SG" sz="1800">
                <a:latin typeface="Roboto"/>
                <a:cs typeface="Roboto"/>
              </a:rPr>
              <a:t>Incredibly effective recommendation system</a:t>
            </a:r>
          </a:p>
          <a:p>
            <a:pPr marL="285750" indent="-285750">
              <a:lnSpc>
                <a:spcPct val="100000"/>
              </a:lnSpc>
            </a:pPr>
            <a:r>
              <a:rPr lang="en-SG" b="1">
                <a:latin typeface="Roboto"/>
                <a:cs typeface="Roboto"/>
              </a:rPr>
              <a:t>Cons: 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</a:pPr>
            <a:r>
              <a:rPr lang="en-SG" sz="1800">
                <a:latin typeface="Roboto"/>
                <a:cs typeface="Roboto"/>
              </a:rPr>
              <a:t>Tougher to "explain" the recommendation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</a:pPr>
            <a:r>
              <a:rPr lang="en-SG" sz="1800">
                <a:latin typeface="Roboto"/>
                <a:cs typeface="Roboto"/>
              </a:rPr>
              <a:t>Tends to hold a bias towards more popular items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</a:pPr>
            <a:r>
              <a:rPr lang="en-SG" sz="1800">
                <a:latin typeface="Roboto"/>
                <a:cs typeface="Roboto"/>
              </a:rPr>
              <a:t>"Cold-Start" - Difficult to make recommendations initially</a:t>
            </a:r>
          </a:p>
        </p:txBody>
      </p:sp>
      <p:sp>
        <p:nvSpPr>
          <p:cNvPr id="79" name="Google Shape;79;p16"/>
          <p:cNvSpPr txBox="1"/>
          <p:nvPr/>
        </p:nvSpPr>
        <p:spPr>
          <a:xfrm>
            <a:off x="202096" y="-57400"/>
            <a:ext cx="8952900" cy="113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" sz="5000">
                <a:solidFill>
                  <a:srgbClr val="073763"/>
                </a:solidFill>
                <a:latin typeface="Proxima Nova"/>
                <a:cs typeface="Proxima Nova"/>
                <a:sym typeface="Proxima Nova"/>
              </a:rPr>
              <a:t>Collaborative Filtering System</a:t>
            </a:r>
            <a:endParaRPr lang="en-US"/>
          </a:p>
        </p:txBody>
      </p:sp>
      <p:sp>
        <p:nvSpPr>
          <p:cNvPr id="80" name="Google Shape;80;p16"/>
          <p:cNvSpPr/>
          <p:nvPr/>
        </p:nvSpPr>
        <p:spPr>
          <a:xfrm>
            <a:off x="345775" y="849350"/>
            <a:ext cx="2426400" cy="140700"/>
          </a:xfrm>
          <a:prstGeom prst="rect">
            <a:avLst/>
          </a:prstGeom>
          <a:solidFill>
            <a:srgbClr val="85200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7" name="Graphic 6" descr="Filter">
            <a:extLst>
              <a:ext uri="{FF2B5EF4-FFF2-40B4-BE49-F238E27FC236}">
                <a16:creationId xmlns:a16="http://schemas.microsoft.com/office/drawing/2014/main" id="{53DDA5A2-0E72-4688-A894-8B352E02AB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63608" y="-9399"/>
            <a:ext cx="914400" cy="914400"/>
          </a:xfrm>
          <a:prstGeom prst="rect">
            <a:avLst/>
          </a:prstGeom>
        </p:spPr>
      </p:pic>
      <p:pic>
        <p:nvPicPr>
          <p:cNvPr id="4" name="Picture 4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31171E1F-CAA2-4332-9F36-76A4AAC8BC4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19471"/>
          <a:stretch/>
        </p:blipFill>
        <p:spPr>
          <a:xfrm>
            <a:off x="5928729" y="2341553"/>
            <a:ext cx="3000170" cy="1842668"/>
          </a:xfrm>
          <a:prstGeom prst="rect">
            <a:avLst/>
          </a:prstGeom>
          <a:ln>
            <a:solidFill>
              <a:srgbClr val="07376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14361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Custom 1">
      <a:majorFont>
        <a:latin typeface="Proxima Nov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On-screen Show (16:9)</PresentationFormat>
  <Slides>18</Slides>
  <Notes>18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19" baseType="lpstr">
      <vt:lpstr>Simple Ligh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yatt Currie</dc:creator>
  <cp:revision>1</cp:revision>
  <dcterms:modified xsi:type="dcterms:W3CDTF">2020-12-02T00:28:32Z</dcterms:modified>
</cp:coreProperties>
</file>